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9"/>
  </p:notesMasterIdLst>
  <p:handoutMasterIdLst>
    <p:handoutMasterId r:id="rId10"/>
  </p:handoutMasterIdLst>
  <p:sldIdLst>
    <p:sldId id="334" r:id="rId5"/>
    <p:sldId id="360" r:id="rId6"/>
    <p:sldId id="361" r:id="rId7"/>
    <p:sldId id="362" r:id="rId8"/>
  </p:sldIdLst>
  <p:sldSz cx="9906000" cy="6858000" type="A4"/>
  <p:notesSz cx="6797675" cy="9926638"/>
  <p:defaultTextStyle>
    <a:defPPr>
      <a:defRPr lang="ko-KR"/>
    </a:defPPr>
    <a:lvl1pPr marL="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82">
          <p15:clr>
            <a:srgbClr val="A4A3A4"/>
          </p15:clr>
        </p15:guide>
        <p15:guide id="2" orient="horz" pos="4201">
          <p15:clr>
            <a:srgbClr val="A4A3A4"/>
          </p15:clr>
        </p15:guide>
        <p15:guide id="3" orient="horz" pos="2976">
          <p15:clr>
            <a:srgbClr val="A4A3A4"/>
          </p15:clr>
        </p15:guide>
        <p15:guide id="4" orient="horz" pos="1253">
          <p15:clr>
            <a:srgbClr val="A4A3A4"/>
          </p15:clr>
        </p15:guide>
        <p15:guide id="5" orient="horz" pos="4065">
          <p15:clr>
            <a:srgbClr val="A4A3A4"/>
          </p15:clr>
        </p15:guide>
        <p15:guide id="6" orient="horz" pos="1525">
          <p15:clr>
            <a:srgbClr val="A4A3A4"/>
          </p15:clr>
        </p15:guide>
        <p15:guide id="7" orient="horz" pos="709" userDrawn="1">
          <p15:clr>
            <a:srgbClr val="A4A3A4"/>
          </p15:clr>
        </p15:guide>
        <p15:guide id="8" orient="horz" pos="845">
          <p15:clr>
            <a:srgbClr val="A4A3A4"/>
          </p15:clr>
        </p15:guide>
        <p15:guide id="9" orient="horz" pos="1162">
          <p15:clr>
            <a:srgbClr val="A4A3A4"/>
          </p15:clr>
        </p15:guide>
        <p15:guide id="10" pos="3120">
          <p15:clr>
            <a:srgbClr val="A4A3A4"/>
          </p15:clr>
        </p15:guide>
        <p15:guide id="11" pos="3438">
          <p15:clr>
            <a:srgbClr val="A4A3A4"/>
          </p15:clr>
        </p15:guide>
        <p15:guide id="12" pos="4617">
          <p15:clr>
            <a:srgbClr val="A4A3A4"/>
          </p15:clr>
        </p15:guide>
        <p15:guide id="13" pos="1986">
          <p15:clr>
            <a:srgbClr val="A4A3A4"/>
          </p15:clr>
        </p15:guide>
        <p15:guide id="14" pos="580">
          <p15:clr>
            <a:srgbClr val="A4A3A4"/>
          </p15:clr>
        </p15:guide>
        <p15:guide id="15" pos="2304">
          <p15:clr>
            <a:srgbClr val="A4A3A4"/>
          </p15:clr>
        </p15:guide>
        <p15:guide id="16" pos="262" userDrawn="1">
          <p15:clr>
            <a:srgbClr val="A4A3A4"/>
          </p15:clr>
        </p15:guide>
        <p15:guide id="17" pos="6023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최성호" initials="최" lastIdx="3" clrIdx="0">
    <p:extLst>
      <p:ext uri="{19B8F6BF-5375-455C-9EA6-DF929625EA0E}">
        <p15:presenceInfo xmlns:p15="http://schemas.microsoft.com/office/powerpoint/2012/main" userId="S-1-5-21-1944003135-1417914267-667908833-74284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DDDDDD"/>
    <a:srgbClr val="0000FF"/>
    <a:srgbClr val="FFFF99"/>
    <a:srgbClr val="FFFFCC"/>
    <a:srgbClr val="CC3300"/>
    <a:srgbClr val="CCECFF"/>
    <a:srgbClr val="CCFFFF"/>
    <a:srgbClr val="F7FFFF"/>
    <a:srgbClr val="FFF7E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보통 스타일 2 - 강조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3704" autoAdjust="0"/>
    <p:restoredTop sz="94749" autoAdjust="0"/>
  </p:normalViewPr>
  <p:slideViewPr>
    <p:cSldViewPr showGuides="1">
      <p:cViewPr varScale="1">
        <p:scale>
          <a:sx n="102" d="100"/>
          <a:sy n="102" d="100"/>
        </p:scale>
        <p:origin x="2244" y="102"/>
      </p:cViewPr>
      <p:guideLst>
        <p:guide orient="horz" pos="482"/>
        <p:guide orient="horz" pos="4201"/>
        <p:guide orient="horz" pos="2976"/>
        <p:guide orient="horz" pos="1253"/>
        <p:guide orient="horz" pos="4065"/>
        <p:guide orient="horz" pos="1525"/>
        <p:guide orient="horz" pos="709"/>
        <p:guide orient="horz" pos="845"/>
        <p:guide orient="horz" pos="1162"/>
        <p:guide pos="3120"/>
        <p:guide pos="3438"/>
        <p:guide pos="4617"/>
        <p:guide pos="1986"/>
        <p:guide pos="580"/>
        <p:guide pos="2304"/>
        <p:guide pos="262"/>
        <p:guide pos="6023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>
      <p:cViewPr varScale="1">
        <p:scale>
          <a:sx n="79" d="100"/>
          <a:sy n="79" d="100"/>
        </p:scale>
        <p:origin x="3954" y="10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presProps" Target="pres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commentAuthors" Target="commentAuthors.xml"/><Relationship Id="rId5" Type="http://schemas.openxmlformats.org/officeDocument/2006/relationships/slide" Target="slides/slide1.xml"/><Relationship Id="rId15" Type="http://schemas.openxmlformats.org/officeDocument/2006/relationships/tableStyles" Target="tableStyles.xml"/><Relationship Id="rId10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notesMaster" Target="notesMasters/notesMaster1.xml"/><Relationship Id="rId14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448" cy="496253"/>
          </a:xfrm>
          <a:prstGeom prst="rect">
            <a:avLst/>
          </a:prstGeom>
        </p:spPr>
        <p:txBody>
          <a:bodyPr vert="horz" lIns="91312" tIns="45656" rIns="91312" bIns="45656" rtlCol="0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sz="quarter" idx="1"/>
          </p:nvPr>
        </p:nvSpPr>
        <p:spPr>
          <a:xfrm>
            <a:off x="3850643" y="0"/>
            <a:ext cx="2945448" cy="496253"/>
          </a:xfrm>
          <a:prstGeom prst="rect">
            <a:avLst/>
          </a:prstGeom>
        </p:spPr>
        <p:txBody>
          <a:bodyPr vert="horz" lIns="91312" tIns="45656" rIns="91312" bIns="45656" rtlCol="0"/>
          <a:lstStyle>
            <a:lvl1pPr algn="r">
              <a:defRPr sz="1200"/>
            </a:lvl1pPr>
          </a:lstStyle>
          <a:p>
            <a:fld id="{422E1F1C-8319-4938-9C5E-2C3EEFF14869}" type="datetimeFigureOut">
              <a:rPr lang="ko-KR" altLang="en-US" smtClean="0"/>
              <a:t>2025-04-15</a:t>
            </a:fld>
            <a:endParaRPr lang="ko-KR" altLang="en-US"/>
          </a:p>
        </p:txBody>
      </p:sp>
      <p:sp>
        <p:nvSpPr>
          <p:cNvPr id="4" name="바닥글 개체 틀 3"/>
          <p:cNvSpPr>
            <a:spLocks noGrp="1"/>
          </p:cNvSpPr>
          <p:nvPr>
            <p:ph type="ftr" sz="quarter" idx="2"/>
          </p:nvPr>
        </p:nvSpPr>
        <p:spPr>
          <a:xfrm>
            <a:off x="0" y="9428800"/>
            <a:ext cx="2945448" cy="496252"/>
          </a:xfrm>
          <a:prstGeom prst="rect">
            <a:avLst/>
          </a:prstGeom>
        </p:spPr>
        <p:txBody>
          <a:bodyPr vert="horz" lIns="91312" tIns="45656" rIns="91312" bIns="45656" rtlCol="0" anchor="b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3"/>
          </p:nvPr>
        </p:nvSpPr>
        <p:spPr>
          <a:xfrm>
            <a:off x="3850643" y="9428800"/>
            <a:ext cx="2945448" cy="496252"/>
          </a:xfrm>
          <a:prstGeom prst="rect">
            <a:avLst/>
          </a:prstGeom>
        </p:spPr>
        <p:txBody>
          <a:bodyPr vert="horz" lIns="91312" tIns="45656" rIns="91312" bIns="45656" rtlCol="0" anchor="b"/>
          <a:lstStyle>
            <a:lvl1pPr algn="r">
              <a:defRPr sz="1200"/>
            </a:lvl1pPr>
          </a:lstStyle>
          <a:p>
            <a:fld id="{747D0293-A9C4-428B-A161-F7DDAB8FF763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77723340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448" cy="496253"/>
          </a:xfrm>
          <a:prstGeom prst="rect">
            <a:avLst/>
          </a:prstGeom>
        </p:spPr>
        <p:txBody>
          <a:bodyPr vert="horz" lIns="91312" tIns="45656" rIns="91312" bIns="45656" rtlCol="0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idx="1"/>
          </p:nvPr>
        </p:nvSpPr>
        <p:spPr>
          <a:xfrm>
            <a:off x="3850643" y="0"/>
            <a:ext cx="2945448" cy="496253"/>
          </a:xfrm>
          <a:prstGeom prst="rect">
            <a:avLst/>
          </a:prstGeom>
        </p:spPr>
        <p:txBody>
          <a:bodyPr vert="horz" lIns="91312" tIns="45656" rIns="91312" bIns="45656" rtlCol="0"/>
          <a:lstStyle>
            <a:lvl1pPr algn="r">
              <a:defRPr sz="1200"/>
            </a:lvl1pPr>
          </a:lstStyle>
          <a:p>
            <a:fld id="{E2E97084-0AE1-4DC8-AE67-F929F63C9C9B}" type="datetimeFigureOut">
              <a:rPr lang="ko-KR" altLang="en-US" smtClean="0"/>
              <a:t>2025-04-15</a:t>
            </a:fld>
            <a:endParaRPr lang="ko-KR" altLang="en-US"/>
          </a:p>
        </p:txBody>
      </p:sp>
      <p:sp>
        <p:nvSpPr>
          <p:cNvPr id="4" name="슬라이드 이미지 개체 틀 3"/>
          <p:cNvSpPr>
            <a:spLocks noGrp="1" noRot="1" noChangeAspect="1"/>
          </p:cNvSpPr>
          <p:nvPr>
            <p:ph type="sldImg" idx="2"/>
          </p:nvPr>
        </p:nvSpPr>
        <p:spPr>
          <a:xfrm>
            <a:off x="711200" y="744538"/>
            <a:ext cx="5375275" cy="3721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312" tIns="45656" rIns="91312" bIns="45656" rtlCol="0" anchor="ctr"/>
          <a:lstStyle/>
          <a:p>
            <a:endParaRPr lang="ko-KR" altLang="en-US"/>
          </a:p>
        </p:txBody>
      </p:sp>
      <p:sp>
        <p:nvSpPr>
          <p:cNvPr id="5" name="슬라이드 노트 개체 틀 4"/>
          <p:cNvSpPr>
            <a:spLocks noGrp="1"/>
          </p:cNvSpPr>
          <p:nvPr>
            <p:ph type="body" sz="quarter" idx="3"/>
          </p:nvPr>
        </p:nvSpPr>
        <p:spPr>
          <a:xfrm>
            <a:off x="680085" y="4715192"/>
            <a:ext cx="5437506" cy="4466274"/>
          </a:xfrm>
          <a:prstGeom prst="rect">
            <a:avLst/>
          </a:prstGeom>
        </p:spPr>
        <p:txBody>
          <a:bodyPr vert="horz" lIns="91312" tIns="45656" rIns="91312" bIns="45656" rtlCol="0"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4"/>
          </p:nvPr>
        </p:nvSpPr>
        <p:spPr>
          <a:xfrm>
            <a:off x="0" y="9428800"/>
            <a:ext cx="2945448" cy="496252"/>
          </a:xfrm>
          <a:prstGeom prst="rect">
            <a:avLst/>
          </a:prstGeom>
        </p:spPr>
        <p:txBody>
          <a:bodyPr vert="horz" lIns="91312" tIns="45656" rIns="91312" bIns="45656" rtlCol="0" anchor="b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5"/>
          </p:nvPr>
        </p:nvSpPr>
        <p:spPr>
          <a:xfrm>
            <a:off x="3850643" y="9428800"/>
            <a:ext cx="2945448" cy="496252"/>
          </a:xfrm>
          <a:prstGeom prst="rect">
            <a:avLst/>
          </a:prstGeom>
        </p:spPr>
        <p:txBody>
          <a:bodyPr vert="horz" lIns="91312" tIns="45656" rIns="91312" bIns="45656" rtlCol="0" anchor="b"/>
          <a:lstStyle>
            <a:lvl1pPr algn="r">
              <a:defRPr sz="1200"/>
            </a:lvl1pPr>
          </a:lstStyle>
          <a:p>
            <a:fld id="{4C3A51D3-45D3-420A-853B-26EE02842D17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73639913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13065">
              <a:spcBef>
                <a:spcPts val="300"/>
              </a:spcBef>
              <a:defRPr/>
            </a:pPr>
            <a:endParaRPr lang="en-US" altLang="ko-KR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32924EE-900F-4D2A-B015-67154587C3BB}" type="slidenum">
              <a:rPr lang="ko-KR" altLang="en-US" smtClean="0">
                <a:solidFill>
                  <a:prstClr val="black"/>
                </a:solidFill>
              </a:rPr>
              <a:pPr/>
              <a:t>2</a:t>
            </a:fld>
            <a:endParaRPr lang="ko-KR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0184471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13065">
              <a:spcBef>
                <a:spcPts val="300"/>
              </a:spcBef>
              <a:defRPr/>
            </a:pPr>
            <a:endParaRPr lang="en-US" altLang="ko-KR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32924EE-900F-4D2A-B015-67154587C3BB}" type="slidenum">
              <a:rPr lang="ko-KR" altLang="en-US" smtClean="0">
                <a:solidFill>
                  <a:prstClr val="black"/>
                </a:solidFill>
              </a:rPr>
              <a:pPr/>
              <a:t>3</a:t>
            </a:fld>
            <a:endParaRPr lang="ko-KR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5999111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13065">
              <a:spcBef>
                <a:spcPts val="300"/>
              </a:spcBef>
              <a:defRPr/>
            </a:pPr>
            <a:endParaRPr lang="en-US" altLang="ko-KR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32924EE-900F-4D2A-B015-67154587C3BB}" type="slidenum">
              <a:rPr lang="ko-KR" altLang="en-US" smtClean="0">
                <a:solidFill>
                  <a:prstClr val="black"/>
                </a:solidFill>
              </a:rPr>
              <a:pPr/>
              <a:t>4</a:t>
            </a:fld>
            <a:endParaRPr lang="ko-KR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5999111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4.pn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pn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1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8" Type="http://schemas.microsoft.com/office/2007/relationships/hdphoto" Target="../media/hdphoto3.wdp"/><Relationship Id="rId3" Type="http://schemas.openxmlformats.org/officeDocument/2006/relationships/image" Target="../media/image6.png"/><Relationship Id="rId7" Type="http://schemas.openxmlformats.org/officeDocument/2006/relationships/image" Target="../media/image8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Relationship Id="rId6" Type="http://schemas.microsoft.com/office/2007/relationships/hdphoto" Target="../media/hdphoto2.wdp"/><Relationship Id="rId11" Type="http://schemas.openxmlformats.org/officeDocument/2006/relationships/image" Target="../media/image11.png"/><Relationship Id="rId5" Type="http://schemas.openxmlformats.org/officeDocument/2006/relationships/image" Target="../media/image7.png"/><Relationship Id="rId10" Type="http://schemas.openxmlformats.org/officeDocument/2006/relationships/image" Target="../media/image10.png"/><Relationship Id="rId4" Type="http://schemas.microsoft.com/office/2007/relationships/hdphoto" Target="../media/hdphoto1.wdp"/><Relationship Id="rId9" Type="http://schemas.openxmlformats.org/officeDocument/2006/relationships/image" Target="../media/image9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image" Target="../media/image1.png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결재표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그림 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608153" y="103345"/>
            <a:ext cx="1097375" cy="390178"/>
          </a:xfrm>
          <a:prstGeom prst="rect">
            <a:avLst/>
          </a:prstGeom>
        </p:spPr>
      </p:pic>
      <p:sp>
        <p:nvSpPr>
          <p:cNvPr id="7" name="직사각형 6"/>
          <p:cNvSpPr/>
          <p:nvPr userDrawn="1"/>
        </p:nvSpPr>
        <p:spPr>
          <a:xfrm>
            <a:off x="632520" y="2420888"/>
            <a:ext cx="7884000" cy="25200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10" name="Picture 2"/>
          <p:cNvPicPr preferRelativeResize="0">
            <a:picLocks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8807" y="588312"/>
            <a:ext cx="900000" cy="248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4" name="그림 13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37528" y="6456796"/>
            <a:ext cx="1368000" cy="3565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677961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07_자유양식(제목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Line 10"/>
          <p:cNvSpPr>
            <a:spLocks noChangeShapeType="1"/>
          </p:cNvSpPr>
          <p:nvPr userDrawn="1">
            <p:custDataLst>
              <p:tags r:id="rId1"/>
            </p:custDataLst>
          </p:nvPr>
        </p:nvSpPr>
        <p:spPr bwMode="auto">
          <a:xfrm>
            <a:off x="470119" y="764704"/>
            <a:ext cx="9435881" cy="0"/>
          </a:xfrm>
          <a:prstGeom prst="line">
            <a:avLst/>
          </a:prstGeom>
          <a:noFill/>
          <a:ln w="28575">
            <a:solidFill>
              <a:srgbClr val="17496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ko-KR" altLang="en-US">
              <a:solidFill>
                <a:prstClr val="black"/>
              </a:solidFill>
            </a:endParaRPr>
          </a:p>
        </p:txBody>
      </p:sp>
      <p:sp>
        <p:nvSpPr>
          <p:cNvPr id="7" name="날짜 개체 틀 6"/>
          <p:cNvSpPr>
            <a:spLocks noGrp="1"/>
          </p:cNvSpPr>
          <p:nvPr>
            <p:ph type="dt" sz="half" idx="10"/>
          </p:nvPr>
        </p:nvSpPr>
        <p:spPr>
          <a:xfrm>
            <a:off x="495300" y="6356351"/>
            <a:ext cx="2311400" cy="365125"/>
          </a:xfrm>
          <a:prstGeom prst="rect">
            <a:avLst/>
          </a:prstGeom>
        </p:spPr>
        <p:txBody>
          <a:bodyPr/>
          <a:lstStyle/>
          <a:p>
            <a:fld id="{3EE2D7F7-0C5D-433A-BA2A-0068783DE868}" type="datetime1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2025-04-15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바닥글 개체 틀 7"/>
          <p:cNvSpPr>
            <a:spLocks noGrp="1"/>
          </p:cNvSpPr>
          <p:nvPr>
            <p:ph type="ftr" sz="quarter" idx="11"/>
          </p:nvPr>
        </p:nvSpPr>
        <p:spPr>
          <a:xfrm>
            <a:off x="3384550" y="6356351"/>
            <a:ext cx="3136900" cy="365125"/>
          </a:xfrm>
          <a:prstGeom prst="rect">
            <a:avLst/>
          </a:prstGeom>
        </p:spPr>
        <p:txBody>
          <a:bodyPr/>
          <a:lstStyle/>
          <a:p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슬라이드 번호 개체 틀 8"/>
          <p:cNvSpPr>
            <a:spLocks noGrp="1"/>
          </p:cNvSpPr>
          <p:nvPr>
            <p:ph type="sldNum" sz="quarter" idx="12"/>
          </p:nvPr>
        </p:nvSpPr>
        <p:spPr>
          <a:xfrm>
            <a:off x="7099300" y="6356351"/>
            <a:ext cx="2311400" cy="365125"/>
          </a:xfrm>
          <a:prstGeom prst="rect">
            <a:avLst/>
          </a:prstGeom>
        </p:spPr>
        <p:txBody>
          <a:bodyPr/>
          <a:lstStyle/>
          <a:p>
            <a:fld id="{134754B1-5481-42F5-A136-487F2D713CB8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10" name="그림 9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608153" y="103345"/>
            <a:ext cx="1097375" cy="390178"/>
          </a:xfrm>
          <a:prstGeom prst="rect">
            <a:avLst/>
          </a:prstGeom>
        </p:spPr>
      </p:pic>
      <p:pic>
        <p:nvPicPr>
          <p:cNvPr id="11" name="그림 10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97788" y="6409321"/>
            <a:ext cx="1512000" cy="3941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115773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일반 양식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날짜 개체 틀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720A4F-17D2-4197-9C1F-D555381DAC5D}" type="datetimeFigureOut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2025-04-15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바닥글 개체 틀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Line 10"/>
          <p:cNvSpPr>
            <a:spLocks noChangeShapeType="1"/>
          </p:cNvSpPr>
          <p:nvPr userDrawn="1">
            <p:custDataLst>
              <p:tags r:id="rId1"/>
            </p:custDataLst>
          </p:nvPr>
        </p:nvSpPr>
        <p:spPr bwMode="auto">
          <a:xfrm>
            <a:off x="354427" y="764704"/>
            <a:ext cx="9540000" cy="0"/>
          </a:xfrm>
          <a:prstGeom prst="line">
            <a:avLst/>
          </a:prstGeom>
          <a:noFill/>
          <a:ln w="28575">
            <a:solidFill>
              <a:srgbClr val="17496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90722" tIns="45364" rIns="90722" bIns="45364" anchor="ctr"/>
          <a:lstStyle/>
          <a:p>
            <a:pPr defTabSz="907257"/>
            <a:endParaRPr lang="ko-KR" altLang="en-US">
              <a:solidFill>
                <a:prstClr val="black"/>
              </a:solidFill>
            </a:endParaRPr>
          </a:p>
        </p:txBody>
      </p:sp>
      <p:pic>
        <p:nvPicPr>
          <p:cNvPr id="7" name="그림 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97788" y="6409321"/>
            <a:ext cx="1512000" cy="394116"/>
          </a:xfrm>
          <a:prstGeom prst="rect">
            <a:avLst/>
          </a:prstGeom>
        </p:spPr>
      </p:pic>
      <p:sp>
        <p:nvSpPr>
          <p:cNvPr id="8" name="제목 1"/>
          <p:cNvSpPr>
            <a:spLocks noGrp="1"/>
          </p:cNvSpPr>
          <p:nvPr>
            <p:ph type="title" hasCustomPrompt="1"/>
          </p:nvPr>
        </p:nvSpPr>
        <p:spPr>
          <a:xfrm>
            <a:off x="495305" y="274638"/>
            <a:ext cx="8915400" cy="418058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2100" baseline="0">
                <a:latin typeface="+mj-ea"/>
                <a:ea typeface="+mj-ea"/>
              </a:defRPr>
            </a:lvl1pPr>
          </a:lstStyle>
          <a:p>
            <a:r>
              <a:rPr lang="ko-KR" altLang="en-US" dirty="0"/>
              <a:t>제 목 </a:t>
            </a:r>
            <a:r>
              <a:rPr lang="en-US" altLang="ko-KR" dirty="0"/>
              <a:t>– </a:t>
            </a:r>
            <a:r>
              <a:rPr lang="ko-KR" altLang="en-US" dirty="0"/>
              <a:t>현대하모니 </a:t>
            </a:r>
            <a:r>
              <a:rPr lang="en-US" altLang="ko-KR" dirty="0"/>
              <a:t>B, 24pt</a:t>
            </a:r>
            <a:endParaRPr lang="ko-KR" altLang="en-US" dirty="0"/>
          </a:p>
        </p:txBody>
      </p:sp>
      <p:pic>
        <p:nvPicPr>
          <p:cNvPr id="9" name="그림 8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8608153" y="103345"/>
            <a:ext cx="1097375" cy="3901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5420396"/>
      </p:ext>
    </p:extLst>
  </p:cSld>
  <p:clrMapOvr>
    <a:masterClrMapping/>
  </p:clrMapOvr>
  <p:hf hdr="0" ft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일반 양식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날짜 개체 틀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720A4F-17D2-4197-9C1F-D555381DAC5D}" type="datetimeFigureOut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2025-04-15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바닥글 개체 틀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Line 10"/>
          <p:cNvSpPr>
            <a:spLocks noChangeShapeType="1"/>
          </p:cNvSpPr>
          <p:nvPr userDrawn="1">
            <p:custDataLst>
              <p:tags r:id="rId1"/>
            </p:custDataLst>
          </p:nvPr>
        </p:nvSpPr>
        <p:spPr bwMode="auto">
          <a:xfrm>
            <a:off x="354427" y="764704"/>
            <a:ext cx="9540000" cy="0"/>
          </a:xfrm>
          <a:prstGeom prst="line">
            <a:avLst/>
          </a:prstGeom>
          <a:noFill/>
          <a:ln w="28575">
            <a:solidFill>
              <a:srgbClr val="17496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90722" tIns="45364" rIns="90722" bIns="45364" anchor="ctr"/>
          <a:lstStyle/>
          <a:p>
            <a:pPr defTabSz="907257"/>
            <a:endParaRPr lang="ko-KR" altLang="en-US">
              <a:solidFill>
                <a:prstClr val="black"/>
              </a:solidFill>
            </a:endParaRPr>
          </a:p>
        </p:txBody>
      </p:sp>
      <p:pic>
        <p:nvPicPr>
          <p:cNvPr id="7" name="그림 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97788" y="6409321"/>
            <a:ext cx="1512000" cy="394116"/>
          </a:xfrm>
          <a:prstGeom prst="rect">
            <a:avLst/>
          </a:prstGeom>
        </p:spPr>
      </p:pic>
      <p:sp>
        <p:nvSpPr>
          <p:cNvPr id="8" name="제목 1"/>
          <p:cNvSpPr>
            <a:spLocks noGrp="1"/>
          </p:cNvSpPr>
          <p:nvPr>
            <p:ph type="title" hasCustomPrompt="1"/>
          </p:nvPr>
        </p:nvSpPr>
        <p:spPr>
          <a:xfrm>
            <a:off x="495305" y="274638"/>
            <a:ext cx="8915400" cy="418058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2100" baseline="0">
                <a:latin typeface="+mj-ea"/>
                <a:ea typeface="+mj-ea"/>
              </a:defRPr>
            </a:lvl1pPr>
          </a:lstStyle>
          <a:p>
            <a:r>
              <a:rPr lang="ko-KR" altLang="en-US" dirty="0"/>
              <a:t>제 목 </a:t>
            </a:r>
            <a:r>
              <a:rPr lang="en-US" altLang="ko-KR" dirty="0"/>
              <a:t>– </a:t>
            </a:r>
            <a:r>
              <a:rPr lang="ko-KR" altLang="en-US" dirty="0"/>
              <a:t>현대하모니 </a:t>
            </a:r>
            <a:r>
              <a:rPr lang="en-US" altLang="ko-KR" dirty="0"/>
              <a:t>B, 24pt</a:t>
            </a:r>
            <a:endParaRPr lang="ko-KR" altLang="en-US" dirty="0"/>
          </a:p>
        </p:txBody>
      </p:sp>
      <p:pic>
        <p:nvPicPr>
          <p:cNvPr id="9" name="그림 8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8608153" y="103345"/>
            <a:ext cx="1097375" cy="3901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8627805"/>
      </p:ext>
    </p:extLst>
  </p:cSld>
  <p:clrMapOvr>
    <a:masterClrMapping/>
  </p:clrMapOvr>
  <p:hf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결재표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/>
          <p:cNvPicPr preferRelativeResize="0">
            <a:picLocks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8807" y="588312"/>
            <a:ext cx="900000" cy="248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4" name="그림 1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37528" y="6456796"/>
            <a:ext cx="1368000" cy="356580"/>
          </a:xfrm>
          <a:prstGeom prst="rect">
            <a:avLst/>
          </a:prstGeom>
        </p:spPr>
      </p:pic>
      <p:pic>
        <p:nvPicPr>
          <p:cNvPr id="5" name="그림 4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8608153" y="103345"/>
            <a:ext cx="1097375" cy="3901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513232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일반 양식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날짜 개체 틀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720A4F-17D2-4197-9C1F-D555381DAC5D}" type="datetimeFigureOut">
              <a:rPr lang="ko-KR" altLang="en-US" smtClean="0"/>
              <a:t>2025-04-15</a:t>
            </a:fld>
            <a:endParaRPr lang="ko-KR" altLang="en-US"/>
          </a:p>
        </p:txBody>
      </p:sp>
      <p:sp>
        <p:nvSpPr>
          <p:cNvPr id="3" name="바닥글 개체 틀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5" name="Line 10"/>
          <p:cNvSpPr>
            <a:spLocks noChangeShapeType="1"/>
          </p:cNvSpPr>
          <p:nvPr userDrawn="1">
            <p:custDataLst>
              <p:tags r:id="rId1"/>
            </p:custDataLst>
          </p:nvPr>
        </p:nvSpPr>
        <p:spPr bwMode="auto">
          <a:xfrm>
            <a:off x="354426" y="764704"/>
            <a:ext cx="9540000" cy="0"/>
          </a:xfrm>
          <a:prstGeom prst="line">
            <a:avLst/>
          </a:prstGeom>
          <a:noFill/>
          <a:ln w="28575">
            <a:solidFill>
              <a:srgbClr val="17496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ko-KR" altLang="en-US">
              <a:solidFill>
                <a:prstClr val="black"/>
              </a:solidFill>
            </a:endParaRPr>
          </a:p>
        </p:txBody>
      </p:sp>
      <p:pic>
        <p:nvPicPr>
          <p:cNvPr id="8" name="그림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37528" y="6456796"/>
            <a:ext cx="1368000" cy="356580"/>
          </a:xfrm>
          <a:prstGeom prst="rect">
            <a:avLst/>
          </a:prstGeom>
        </p:spPr>
      </p:pic>
      <p:pic>
        <p:nvPicPr>
          <p:cNvPr id="7" name="그림 6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8608153" y="103345"/>
            <a:ext cx="1097375" cy="3901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1704377"/>
      </p:ext>
    </p:extLst>
  </p:cSld>
  <p:clrMapOvr>
    <a:masterClrMapping/>
  </p:clrMapOvr>
  <p:hf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일반 양식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Line 10"/>
          <p:cNvSpPr>
            <a:spLocks noChangeShapeType="1"/>
          </p:cNvSpPr>
          <p:nvPr userDrawn="1"/>
        </p:nvSpPr>
        <p:spPr bwMode="auto">
          <a:xfrm>
            <a:off x="273050" y="604838"/>
            <a:ext cx="6989763" cy="0"/>
          </a:xfrm>
          <a:prstGeom prst="line">
            <a:avLst/>
          </a:prstGeom>
          <a:noFill/>
          <a:ln w="25400">
            <a:solidFill>
              <a:srgbClr val="AEAEAE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ko-KR" altLang="en-US">
              <a:solidFill>
                <a:srgbClr val="000000"/>
              </a:solidFill>
            </a:endParaRPr>
          </a:p>
        </p:txBody>
      </p:sp>
      <p:pic>
        <p:nvPicPr>
          <p:cNvPr id="5" name="그림 4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608153" y="103345"/>
            <a:ext cx="1097375" cy="390178"/>
          </a:xfrm>
          <a:prstGeom prst="rect">
            <a:avLst/>
          </a:prstGeom>
        </p:spPr>
      </p:pic>
      <p:pic>
        <p:nvPicPr>
          <p:cNvPr id="6" name="그림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97788" y="6409321"/>
            <a:ext cx="1512000" cy="3941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2360153"/>
      </p:ext>
    </p:extLst>
  </p:cSld>
  <p:clrMapOvr>
    <a:masterClrMapping/>
  </p:clrMapOvr>
  <p:hf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나의 안전 다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직사각형 10"/>
          <p:cNvSpPr/>
          <p:nvPr userDrawn="1"/>
        </p:nvSpPr>
        <p:spPr>
          <a:xfrm>
            <a:off x="5" y="2987224"/>
            <a:ext cx="9906000" cy="3106072"/>
          </a:xfrm>
          <a:prstGeom prst="rect">
            <a:avLst/>
          </a:prstGeom>
          <a:solidFill>
            <a:srgbClr val="DCE6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prstClr val="white"/>
              </a:solidFill>
            </a:endParaRPr>
          </a:p>
        </p:txBody>
      </p:sp>
      <p:sp>
        <p:nvSpPr>
          <p:cNvPr id="12" name="직사각형 11"/>
          <p:cNvSpPr/>
          <p:nvPr userDrawn="1"/>
        </p:nvSpPr>
        <p:spPr>
          <a:xfrm>
            <a:off x="2191682" y="6237312"/>
            <a:ext cx="5522637" cy="360040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lnSpc>
                <a:spcPct val="150000"/>
              </a:lnSpc>
            </a:pPr>
            <a:r>
              <a:rPr lang="ko-KR" altLang="en-US" sz="2200" b="1" dirty="0">
                <a:solidFill>
                  <a:srgbClr val="000000"/>
                </a:solidFill>
                <a:latin typeface="현대하모니 M" pitchFamily="18" charset="-127"/>
                <a:ea typeface="현대하모니 M" pitchFamily="18" charset="-127"/>
              </a:rPr>
              <a:t>  </a:t>
            </a:r>
            <a:r>
              <a:rPr lang="ko-KR" altLang="en-US" sz="2200" b="1" dirty="0">
                <a:solidFill>
                  <a:prstClr val="black"/>
                </a:solidFill>
                <a:latin typeface="현대하모니 M" pitchFamily="18" charset="-127"/>
                <a:ea typeface="현대하모니 M" pitchFamily="18" charset="-127"/>
              </a:rPr>
              <a:t>안전실천</a:t>
            </a:r>
            <a:r>
              <a:rPr lang="en-US" altLang="ko-KR" sz="2200" b="1" dirty="0">
                <a:solidFill>
                  <a:prstClr val="black"/>
                </a:solidFill>
                <a:latin typeface="현대하모니 M" pitchFamily="18" charset="-127"/>
                <a:ea typeface="현대하모니 M" pitchFamily="18" charset="-127"/>
              </a:rPr>
              <a:t>!!  </a:t>
            </a:r>
            <a:r>
              <a:rPr lang="ko-KR" altLang="en-US" sz="2200" b="1" dirty="0">
                <a:solidFill>
                  <a:prstClr val="black"/>
                </a:solidFill>
                <a:latin typeface="현대하모니 M" pitchFamily="18" charset="-127"/>
                <a:ea typeface="현대하모니 M" pitchFamily="18" charset="-127"/>
              </a:rPr>
              <a:t>전원참여</a:t>
            </a:r>
            <a:r>
              <a:rPr lang="en-US" altLang="ko-KR" sz="2200" b="1" dirty="0">
                <a:solidFill>
                  <a:prstClr val="black"/>
                </a:solidFill>
                <a:latin typeface="현대하모니 M" pitchFamily="18" charset="-127"/>
                <a:ea typeface="현대하모니 M" pitchFamily="18" charset="-127"/>
              </a:rPr>
              <a:t>!!  </a:t>
            </a:r>
            <a:r>
              <a:rPr lang="ko-KR" altLang="en-US" sz="2200" b="1" dirty="0">
                <a:solidFill>
                  <a:srgbClr val="0000FF"/>
                </a:solidFill>
                <a:latin typeface="현대하모니 M" pitchFamily="18" charset="-127"/>
                <a:ea typeface="현대하모니 M" pitchFamily="18" charset="-127"/>
              </a:rPr>
              <a:t>좋아</a:t>
            </a:r>
            <a:r>
              <a:rPr lang="en-US" altLang="ko-KR" sz="2200" b="1" dirty="0">
                <a:solidFill>
                  <a:srgbClr val="0000FF"/>
                </a:solidFill>
                <a:latin typeface="현대하모니 M" pitchFamily="18" charset="-127"/>
                <a:ea typeface="현대하모니 M" pitchFamily="18" charset="-127"/>
              </a:rPr>
              <a:t>! </a:t>
            </a:r>
            <a:r>
              <a:rPr lang="ko-KR" altLang="en-US" sz="2200" b="1" dirty="0">
                <a:solidFill>
                  <a:srgbClr val="0000FF"/>
                </a:solidFill>
                <a:latin typeface="현대하모니 M" pitchFamily="18" charset="-127"/>
                <a:ea typeface="현대하모니 M" pitchFamily="18" charset="-127"/>
              </a:rPr>
              <a:t>좋아</a:t>
            </a:r>
            <a:r>
              <a:rPr lang="en-US" altLang="ko-KR" sz="2200" b="1" dirty="0">
                <a:solidFill>
                  <a:srgbClr val="0000FF"/>
                </a:solidFill>
                <a:latin typeface="현대하모니 M" pitchFamily="18" charset="-127"/>
                <a:ea typeface="현대하모니 M" pitchFamily="18" charset="-127"/>
              </a:rPr>
              <a:t>! </a:t>
            </a:r>
            <a:r>
              <a:rPr lang="ko-KR" altLang="en-US" sz="2200" b="1" dirty="0">
                <a:solidFill>
                  <a:srgbClr val="0000FF"/>
                </a:solidFill>
                <a:latin typeface="현대하모니 M" pitchFamily="18" charset="-127"/>
                <a:ea typeface="현대하모니 M" pitchFamily="18" charset="-127"/>
              </a:rPr>
              <a:t>좋아</a:t>
            </a:r>
            <a:r>
              <a:rPr lang="en-US" altLang="ko-KR" sz="2200" b="1" dirty="0">
                <a:solidFill>
                  <a:srgbClr val="0000FF"/>
                </a:solidFill>
                <a:latin typeface="현대하모니 M" pitchFamily="18" charset="-127"/>
                <a:ea typeface="현대하모니 M" pitchFamily="18" charset="-127"/>
              </a:rPr>
              <a:t>! </a:t>
            </a:r>
            <a:endParaRPr lang="ko-KR" altLang="en-US" sz="2200" b="1" dirty="0">
              <a:solidFill>
                <a:srgbClr val="0000FF"/>
              </a:solidFill>
              <a:latin typeface="현대하모니 M" pitchFamily="18" charset="-127"/>
              <a:ea typeface="현대하모니 M" pitchFamily="18" charset="-127"/>
            </a:endParaRPr>
          </a:p>
        </p:txBody>
      </p:sp>
      <p:sp>
        <p:nvSpPr>
          <p:cNvPr id="13" name="직사각형 12"/>
          <p:cNvSpPr/>
          <p:nvPr userDrawn="1"/>
        </p:nvSpPr>
        <p:spPr>
          <a:xfrm>
            <a:off x="860742" y="1390873"/>
            <a:ext cx="8220729" cy="14167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  <a:spcBef>
                <a:spcPts val="300"/>
              </a:spcBef>
            </a:pPr>
            <a:r>
              <a:rPr lang="ko-KR" altLang="en-US" sz="1900" b="1" dirty="0">
                <a:solidFill>
                  <a:prstClr val="black"/>
                </a:solidFill>
                <a:latin typeface="HY견명조" pitchFamily="18" charset="-127"/>
                <a:ea typeface="HY견명조" pitchFamily="18" charset="-127"/>
              </a:rPr>
              <a:t>나는 인간존중</a:t>
            </a:r>
            <a:r>
              <a:rPr lang="en-US" altLang="ko-KR" sz="1900" b="1" dirty="0">
                <a:solidFill>
                  <a:prstClr val="black"/>
                </a:solidFill>
                <a:latin typeface="HY견명조" pitchFamily="18" charset="-127"/>
                <a:ea typeface="HY견명조" pitchFamily="18" charset="-127"/>
              </a:rPr>
              <a:t> </a:t>
            </a:r>
            <a:r>
              <a:rPr lang="ko-KR" altLang="en-US" sz="1900" b="1" dirty="0">
                <a:solidFill>
                  <a:prstClr val="black"/>
                </a:solidFill>
                <a:latin typeface="HY견명조" pitchFamily="18" charset="-127"/>
                <a:ea typeface="HY견명조" pitchFamily="18" charset="-127"/>
              </a:rPr>
              <a:t>정신을 바탕으로 안전이 최고의 핵심가치임을 인식하고</a:t>
            </a:r>
            <a:endParaRPr lang="en-US" altLang="ko-KR" sz="1900" b="1" dirty="0">
              <a:solidFill>
                <a:prstClr val="black"/>
              </a:solidFill>
              <a:latin typeface="HY견명조" pitchFamily="18" charset="-127"/>
              <a:ea typeface="HY견명조" pitchFamily="18" charset="-127"/>
            </a:endParaRPr>
          </a:p>
          <a:p>
            <a:pPr algn="ctr">
              <a:lnSpc>
                <a:spcPct val="150000"/>
              </a:lnSpc>
              <a:spcBef>
                <a:spcPts val="300"/>
              </a:spcBef>
            </a:pPr>
            <a:r>
              <a:rPr lang="ko-KR" altLang="en-US" sz="1900" b="1" dirty="0">
                <a:solidFill>
                  <a:prstClr val="black"/>
                </a:solidFill>
                <a:latin typeface="HY견명조" pitchFamily="18" charset="-127"/>
                <a:ea typeface="HY견명조" pitchFamily="18" charset="-127"/>
              </a:rPr>
              <a:t>안전한 </a:t>
            </a:r>
            <a:r>
              <a:rPr lang="ko-KR" altLang="en-US" sz="1900" b="1" dirty="0" err="1">
                <a:solidFill>
                  <a:prstClr val="black"/>
                </a:solidFill>
                <a:latin typeface="HY견명조" pitchFamily="18" charset="-127"/>
                <a:ea typeface="HY견명조" pitchFamily="18" charset="-127"/>
              </a:rPr>
              <a:t>일터ㆍ밝고</a:t>
            </a:r>
            <a:r>
              <a:rPr lang="ko-KR" altLang="en-US" sz="1900" b="1" dirty="0">
                <a:solidFill>
                  <a:prstClr val="black"/>
                </a:solidFill>
                <a:latin typeface="HY견명조" pitchFamily="18" charset="-127"/>
                <a:ea typeface="HY견명조" pitchFamily="18" charset="-127"/>
              </a:rPr>
              <a:t> 건강한 삶을</a:t>
            </a:r>
            <a:r>
              <a:rPr lang="en-US" altLang="ko-KR" sz="1900" b="1" dirty="0">
                <a:solidFill>
                  <a:prstClr val="black"/>
                </a:solidFill>
                <a:latin typeface="HY견명조" pitchFamily="18" charset="-127"/>
                <a:ea typeface="HY견명조" pitchFamily="18" charset="-127"/>
              </a:rPr>
              <a:t> </a:t>
            </a:r>
            <a:r>
              <a:rPr lang="ko-KR" altLang="en-US" sz="1900" b="1" dirty="0">
                <a:solidFill>
                  <a:prstClr val="black"/>
                </a:solidFill>
                <a:latin typeface="HY견명조" pitchFamily="18" charset="-127"/>
                <a:ea typeface="HY견명조" pitchFamily="18" charset="-127"/>
              </a:rPr>
              <a:t>위해 </a:t>
            </a:r>
            <a:endParaRPr lang="en-US" altLang="ko-KR" sz="1900" b="1" dirty="0">
              <a:solidFill>
                <a:prstClr val="black"/>
              </a:solidFill>
              <a:latin typeface="HY견명조" pitchFamily="18" charset="-127"/>
              <a:ea typeface="HY견명조" pitchFamily="18" charset="-127"/>
            </a:endParaRPr>
          </a:p>
          <a:p>
            <a:pPr algn="ctr">
              <a:lnSpc>
                <a:spcPct val="150000"/>
              </a:lnSpc>
              <a:spcBef>
                <a:spcPts val="300"/>
              </a:spcBef>
            </a:pPr>
            <a:r>
              <a:rPr lang="ko-KR" altLang="en-US" sz="1900" b="1" dirty="0">
                <a:solidFill>
                  <a:prstClr val="black"/>
                </a:solidFill>
                <a:latin typeface="HY견명조" pitchFamily="18" charset="-127"/>
                <a:ea typeface="HY견명조" pitchFamily="18" charset="-127"/>
              </a:rPr>
              <a:t>나부터 참여하고 실천해 나갈 것을 다짐합니다</a:t>
            </a:r>
            <a:r>
              <a:rPr lang="en-US" altLang="ko-KR" sz="1900" b="1" dirty="0">
                <a:solidFill>
                  <a:prstClr val="black"/>
                </a:solidFill>
                <a:latin typeface="HY견명조" pitchFamily="18" charset="-127"/>
                <a:ea typeface="HY견명조" pitchFamily="18" charset="-127"/>
              </a:rPr>
              <a:t>.</a:t>
            </a:r>
          </a:p>
        </p:txBody>
      </p:sp>
      <p:pic>
        <p:nvPicPr>
          <p:cNvPr id="14" name="그림 2"/>
          <p:cNvPicPr>
            <a:picLocks noChangeAspect="1"/>
          </p:cNvPicPr>
          <p:nvPr userDrawn="1"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2087" b="29816"/>
          <a:stretch>
            <a:fillRect/>
          </a:stretch>
        </p:blipFill>
        <p:spPr bwMode="auto">
          <a:xfrm>
            <a:off x="326382" y="1628800"/>
            <a:ext cx="1287430" cy="126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직사각형 14"/>
          <p:cNvSpPr/>
          <p:nvPr userDrawn="1"/>
        </p:nvSpPr>
        <p:spPr>
          <a:xfrm>
            <a:off x="3294937" y="3573013"/>
            <a:ext cx="605096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ko-KR" altLang="en-US" sz="2000" b="1" dirty="0">
                <a:solidFill>
                  <a:srgbClr val="0000FF"/>
                </a:solidFill>
                <a:latin typeface="현대하모니 M" pitchFamily="18" charset="-127"/>
                <a:ea typeface="현대하모니 M" pitchFamily="18" charset="-127"/>
              </a:rPr>
              <a:t>나는</a:t>
            </a:r>
            <a:r>
              <a:rPr lang="en-US" altLang="ko-KR" sz="2000" b="1" dirty="0">
                <a:solidFill>
                  <a:srgbClr val="0000FF"/>
                </a:solidFill>
                <a:latin typeface="현대하모니 M" pitchFamily="18" charset="-127"/>
                <a:ea typeface="현대하모니 M" pitchFamily="18" charset="-127"/>
              </a:rPr>
              <a:t>, </a:t>
            </a:r>
            <a:r>
              <a:rPr lang="ko-KR" altLang="en-US" sz="2000" b="1" dirty="0">
                <a:solidFill>
                  <a:srgbClr val="0000FF"/>
                </a:solidFill>
                <a:latin typeface="현대하모니 M" pitchFamily="18" charset="-127"/>
                <a:ea typeface="현대하모니 M" pitchFamily="18" charset="-127"/>
              </a:rPr>
              <a:t>안전의 기본과 원칙을 준수한다</a:t>
            </a:r>
            <a:r>
              <a:rPr lang="en-US" altLang="ko-KR" sz="2000" b="1" dirty="0">
                <a:solidFill>
                  <a:srgbClr val="0000FF"/>
                </a:solidFill>
                <a:latin typeface="현대하모니 M" pitchFamily="18" charset="-127"/>
                <a:ea typeface="현대하모니 M" pitchFamily="18" charset="-127"/>
              </a:rPr>
              <a:t>.</a:t>
            </a:r>
          </a:p>
        </p:txBody>
      </p:sp>
      <p:sp>
        <p:nvSpPr>
          <p:cNvPr id="16" name="직사각형 15"/>
          <p:cNvSpPr/>
          <p:nvPr userDrawn="1"/>
        </p:nvSpPr>
        <p:spPr>
          <a:xfrm>
            <a:off x="2779067" y="3068959"/>
            <a:ext cx="6566836" cy="615553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r>
              <a:rPr lang="ko-KR" altLang="en-US" sz="2000" b="1" dirty="0">
                <a:solidFill>
                  <a:srgbClr val="000000"/>
                </a:solidFill>
                <a:latin typeface="현대하모니 M" pitchFamily="18" charset="-127"/>
                <a:ea typeface="현대하모니 M" pitchFamily="18" charset="-127"/>
              </a:rPr>
              <a:t>나의  안전을  위해</a:t>
            </a:r>
            <a:endParaRPr lang="en-US" altLang="ko-KR" sz="2000" b="1" dirty="0">
              <a:solidFill>
                <a:srgbClr val="000000"/>
              </a:solidFill>
              <a:latin typeface="현대하모니 M" pitchFamily="18" charset="-127"/>
              <a:ea typeface="현대하모니 M" pitchFamily="18" charset="-127"/>
            </a:endParaRPr>
          </a:p>
        </p:txBody>
      </p:sp>
      <p:sp>
        <p:nvSpPr>
          <p:cNvPr id="17" name="직사각형 16"/>
          <p:cNvSpPr/>
          <p:nvPr userDrawn="1"/>
        </p:nvSpPr>
        <p:spPr>
          <a:xfrm>
            <a:off x="2779066" y="4077071"/>
            <a:ext cx="6566837" cy="615553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r>
              <a:rPr lang="ko-KR" altLang="en-US" sz="2000" b="1" dirty="0">
                <a:solidFill>
                  <a:srgbClr val="000000"/>
                </a:solidFill>
                <a:latin typeface="현대하모니 M" pitchFamily="18" charset="-127"/>
                <a:ea typeface="현대하모니 M" pitchFamily="18" charset="-127"/>
              </a:rPr>
              <a:t>동료의 안전을 위해</a:t>
            </a:r>
            <a:endParaRPr lang="en-US" altLang="ko-KR" sz="2000" b="1" dirty="0">
              <a:solidFill>
                <a:srgbClr val="000000"/>
              </a:solidFill>
              <a:latin typeface="현대하모니 M" pitchFamily="18" charset="-127"/>
              <a:ea typeface="현대하모니 M" pitchFamily="18" charset="-127"/>
            </a:endParaRPr>
          </a:p>
        </p:txBody>
      </p:sp>
      <p:sp>
        <p:nvSpPr>
          <p:cNvPr id="18" name="직사각형 17"/>
          <p:cNvSpPr/>
          <p:nvPr userDrawn="1"/>
        </p:nvSpPr>
        <p:spPr>
          <a:xfrm>
            <a:off x="3294937" y="4581125"/>
            <a:ext cx="605096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ko-KR" altLang="en-US" sz="2000" b="1" dirty="0">
                <a:solidFill>
                  <a:srgbClr val="0000FF"/>
                </a:solidFill>
                <a:latin typeface="현대하모니 M" pitchFamily="18" charset="-127"/>
                <a:ea typeface="현대하모니 M" pitchFamily="18" charset="-127"/>
              </a:rPr>
              <a:t>나는</a:t>
            </a:r>
            <a:r>
              <a:rPr lang="en-US" altLang="ko-KR" sz="2000" b="1" dirty="0">
                <a:solidFill>
                  <a:srgbClr val="0000FF"/>
                </a:solidFill>
                <a:latin typeface="현대하모니 M" pitchFamily="18" charset="-127"/>
                <a:ea typeface="현대하모니 M" pitchFamily="18" charset="-127"/>
              </a:rPr>
              <a:t>, </a:t>
            </a:r>
            <a:r>
              <a:rPr lang="ko-KR" altLang="en-US" sz="2000" b="1" dirty="0">
                <a:solidFill>
                  <a:srgbClr val="0000FF"/>
                </a:solidFill>
                <a:latin typeface="현대하모니 M" pitchFamily="18" charset="-127"/>
                <a:ea typeface="현대하모니 M" pitchFamily="18" charset="-127"/>
              </a:rPr>
              <a:t>서로의 안전을 간섭하고 배려한다</a:t>
            </a:r>
            <a:r>
              <a:rPr lang="en-US" altLang="ko-KR" sz="2000" b="1" dirty="0">
                <a:solidFill>
                  <a:srgbClr val="0000FF"/>
                </a:solidFill>
                <a:latin typeface="현대하모니 M" pitchFamily="18" charset="-127"/>
                <a:ea typeface="현대하모니 M" pitchFamily="18" charset="-127"/>
              </a:rPr>
              <a:t>.</a:t>
            </a:r>
          </a:p>
        </p:txBody>
      </p:sp>
      <p:sp>
        <p:nvSpPr>
          <p:cNvPr id="19" name="직사각형 18"/>
          <p:cNvSpPr/>
          <p:nvPr userDrawn="1"/>
        </p:nvSpPr>
        <p:spPr>
          <a:xfrm>
            <a:off x="2781358" y="5085183"/>
            <a:ext cx="6564546" cy="615553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r>
              <a:rPr lang="ko-KR" altLang="en-US" sz="2000" b="1" dirty="0">
                <a:solidFill>
                  <a:srgbClr val="000000"/>
                </a:solidFill>
                <a:latin typeface="현대하모니 M" pitchFamily="18" charset="-127"/>
                <a:ea typeface="현대하모니 M" pitchFamily="18" charset="-127"/>
              </a:rPr>
              <a:t>행복한 가정을 위해</a:t>
            </a:r>
            <a:endParaRPr lang="en-US" altLang="ko-KR" sz="2000" b="1" dirty="0">
              <a:solidFill>
                <a:srgbClr val="000000"/>
              </a:solidFill>
              <a:latin typeface="현대하모니 M" pitchFamily="18" charset="-127"/>
              <a:ea typeface="현대하모니 M" pitchFamily="18" charset="-127"/>
            </a:endParaRPr>
          </a:p>
        </p:txBody>
      </p:sp>
      <p:sp>
        <p:nvSpPr>
          <p:cNvPr id="20" name="직사각형 19"/>
          <p:cNvSpPr/>
          <p:nvPr userDrawn="1"/>
        </p:nvSpPr>
        <p:spPr>
          <a:xfrm>
            <a:off x="3297229" y="5589237"/>
            <a:ext cx="6048673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ko-KR" altLang="en-US" sz="2000" b="1" dirty="0">
                <a:solidFill>
                  <a:srgbClr val="0000FF"/>
                </a:solidFill>
                <a:latin typeface="현대하모니 M" pitchFamily="18" charset="-127"/>
                <a:ea typeface="현대하모니 M" pitchFamily="18" charset="-127"/>
              </a:rPr>
              <a:t>나는</a:t>
            </a:r>
            <a:r>
              <a:rPr lang="en-US" altLang="ko-KR" sz="2000" b="1" dirty="0">
                <a:solidFill>
                  <a:srgbClr val="0000FF"/>
                </a:solidFill>
                <a:latin typeface="현대하모니 M" pitchFamily="18" charset="-127"/>
                <a:ea typeface="현대하모니 M" pitchFamily="18" charset="-127"/>
              </a:rPr>
              <a:t>, </a:t>
            </a:r>
            <a:r>
              <a:rPr lang="ko-KR" altLang="en-US" sz="2000" b="1" dirty="0">
                <a:solidFill>
                  <a:srgbClr val="0000FF"/>
                </a:solidFill>
                <a:latin typeface="현대하모니 M" pitchFamily="18" charset="-127"/>
                <a:ea typeface="현대하모니 M" pitchFamily="18" charset="-127"/>
              </a:rPr>
              <a:t>출근할 때 모습 그대로 귀가한다</a:t>
            </a:r>
            <a:r>
              <a:rPr lang="en-US" altLang="ko-KR" sz="2000" b="1" dirty="0">
                <a:solidFill>
                  <a:srgbClr val="0000FF"/>
                </a:solidFill>
                <a:latin typeface="현대하모니 M" pitchFamily="18" charset="-127"/>
                <a:ea typeface="현대하모니 M" pitchFamily="18" charset="-127"/>
              </a:rPr>
              <a:t>.  </a:t>
            </a:r>
          </a:p>
        </p:txBody>
      </p:sp>
      <p:pic>
        <p:nvPicPr>
          <p:cNvPr id="21" name="Picture 2"/>
          <p:cNvPicPr>
            <a:picLocks noChangeAspect="1" noChangeArrowheads="1"/>
          </p:cNvPicPr>
          <p:nvPr userDrawn="1"/>
        </p:nvPicPr>
        <p:blipFill>
          <a:blip r:embed="rId3" cstate="print">
            <a:grayscl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0" b="100000" l="0" r="100000">
                        <a14:foregroundMark x1="41919" y1="12181" x2="41919" y2="12181"/>
                        <a14:foregroundMark x1="67172" y1="86969" x2="67172" y2="86969"/>
                        <a14:foregroundMark x1="91414" y1="63173" x2="91414" y2="63173"/>
                        <a14:foregroundMark x1="40404" y1="94334" x2="40404" y2="94334"/>
                        <a14:foregroundMark x1="19192" y1="93201" x2="19192" y2="93201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66895" y="4248710"/>
            <a:ext cx="453690" cy="404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2" name="Picture 4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578" b="99133" l="0" r="100000">
                        <a14:foregroundMark x1="51714" y1="28613" x2="51714" y2="28613"/>
                        <a14:foregroundMark x1="52857" y1="44220" x2="52857" y2="44220"/>
                        <a14:foregroundMark x1="12000" y1="86994" x2="12000" y2="86994"/>
                        <a14:foregroundMark x1="89429" y1="92197" x2="89429" y2="92197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93212" y="3184982"/>
            <a:ext cx="371503" cy="3672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23" name="그림 22"/>
          <p:cNvPicPr>
            <a:picLocks noChangeAspect="1"/>
          </p:cNvPicPr>
          <p:nvPr userDrawn="1"/>
        </p:nvPicPr>
        <p:blipFill>
          <a:blip r:embed="rId7" cstate="print">
            <a:biLevel thresh="75000"/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ackgroundRemoval t="0" b="99574" l="0" r="100000">
                        <a14:foregroundMark x1="50638" y1="42979" x2="50638" y2="42979"/>
                        <a14:foregroundMark x1="47660" y1="61702" x2="47660" y2="61702"/>
                        <a14:foregroundMark x1="66383" y1="44681" x2="66383" y2="44681"/>
                        <a14:foregroundMark x1="64681" y1="55319" x2="64681" y2="55319"/>
                        <a14:foregroundMark x1="31489" y1="59149" x2="31489" y2="59149"/>
                        <a14:foregroundMark x1="30638" y1="67660" x2="30638" y2="67660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16529" y="5166669"/>
            <a:ext cx="494578" cy="494578"/>
          </a:xfrm>
          <a:prstGeom prst="rect">
            <a:avLst/>
          </a:prstGeom>
        </p:spPr>
      </p:pic>
      <p:sp>
        <p:nvSpPr>
          <p:cNvPr id="24" name="Rectangle 18"/>
          <p:cNvSpPr>
            <a:spLocks noChangeArrowheads="1"/>
          </p:cNvSpPr>
          <p:nvPr userDrawn="1"/>
        </p:nvSpPr>
        <p:spPr bwMode="auto">
          <a:xfrm rot="5400000">
            <a:off x="4390232" y="-4390229"/>
            <a:ext cx="1125538" cy="9906000"/>
          </a:xfrm>
          <a:prstGeom prst="rect">
            <a:avLst/>
          </a:prstGeom>
          <a:solidFill>
            <a:srgbClr val="0A2972"/>
          </a:solidFill>
          <a:ln w="0">
            <a:noFill/>
            <a:prstDash val="solid"/>
            <a:miter lim="800000"/>
            <a:headEnd/>
            <a:tailEnd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pPr defTabSz="1218987" latinLnBrk="0">
              <a:defRPr/>
            </a:pPr>
            <a:endParaRPr lang="en-US" sz="2399" kern="0">
              <a:solidFill>
                <a:prstClr val="black"/>
              </a:solidFill>
              <a:latin typeface="Calibri"/>
            </a:endParaRPr>
          </a:p>
        </p:txBody>
      </p:sp>
      <p:grpSp>
        <p:nvGrpSpPr>
          <p:cNvPr id="25" name="그룹 24"/>
          <p:cNvGrpSpPr/>
          <p:nvPr userDrawn="1"/>
        </p:nvGrpSpPr>
        <p:grpSpPr>
          <a:xfrm>
            <a:off x="8351484" y="642428"/>
            <a:ext cx="1498059" cy="410308"/>
            <a:chOff x="2018008" y="2232446"/>
            <a:chExt cx="1711246" cy="431375"/>
          </a:xfrm>
        </p:grpSpPr>
        <p:pic>
          <p:nvPicPr>
            <p:cNvPr id="26" name="그림 25"/>
            <p:cNvPicPr>
              <a:picLocks noChangeAspect="1"/>
            </p:cNvPicPr>
            <p:nvPr userDrawn="1"/>
          </p:nvPicPr>
          <p:blipFill>
            <a:blip r:embed="rId9" cstate="print">
              <a:lum bright="70000" contrast="-7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018008" y="2232446"/>
              <a:ext cx="1512000" cy="394116"/>
            </a:xfrm>
            <a:prstGeom prst="rect">
              <a:avLst/>
            </a:prstGeom>
          </p:spPr>
        </p:pic>
        <p:sp>
          <p:nvSpPr>
            <p:cNvPr id="27" name="TextBox 26"/>
            <p:cNvSpPr txBox="1"/>
            <p:nvPr userDrawn="1"/>
          </p:nvSpPr>
          <p:spPr>
            <a:xfrm>
              <a:off x="2252568" y="2479155"/>
              <a:ext cx="1476686" cy="18466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>
                <a:buFont typeface="Arial" pitchFamily="34" charset="0"/>
                <a:buNone/>
              </a:pPr>
              <a:r>
                <a:rPr lang="en-US" altLang="ko-KR" sz="600" i="1" dirty="0">
                  <a:solidFill>
                    <a:srgbClr val="B4B4B4"/>
                  </a:solidFill>
                  <a:latin typeface="현대하모니 B" pitchFamily="18" charset="-127"/>
                  <a:ea typeface="현대하모니 B" pitchFamily="18" charset="-127"/>
                </a:rPr>
                <a:t>Engineering the Future beyond Steel</a:t>
              </a:r>
              <a:endParaRPr lang="ko-KR" altLang="en-US" sz="600" i="1" dirty="0">
                <a:solidFill>
                  <a:srgbClr val="B4B4B4"/>
                </a:solidFill>
                <a:latin typeface="현대하모니 B" pitchFamily="18" charset="-127"/>
                <a:ea typeface="현대하모니 B" pitchFamily="18" charset="-127"/>
              </a:endParaRPr>
            </a:p>
          </p:txBody>
        </p:sp>
      </p:grpSp>
      <p:sp>
        <p:nvSpPr>
          <p:cNvPr id="28" name="직사각형 27"/>
          <p:cNvSpPr/>
          <p:nvPr userDrawn="1"/>
        </p:nvSpPr>
        <p:spPr>
          <a:xfrm>
            <a:off x="5" y="1128564"/>
            <a:ext cx="9906000" cy="140196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prstClr val="white"/>
              </a:solidFill>
            </a:endParaRPr>
          </a:p>
        </p:txBody>
      </p:sp>
      <p:pic>
        <p:nvPicPr>
          <p:cNvPr id="29" name="Picture 2"/>
          <p:cNvPicPr>
            <a:picLocks noChangeAspect="1" noChangeArrowheads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05328" y="1945407"/>
            <a:ext cx="1607805" cy="936000"/>
          </a:xfrm>
          <a:prstGeom prst="rect">
            <a:avLst/>
          </a:prstGeom>
          <a:ln>
            <a:noFill/>
          </a:ln>
          <a:effectLst>
            <a:softEdge rad="6350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" name="Picture 2"/>
          <p:cNvPicPr>
            <a:picLocks noChangeAspect="1" noChangeArrowheads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588" y="-99392"/>
            <a:ext cx="9907588" cy="1603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056517618"/>
      </p:ext>
    </p:extLst>
  </p:cSld>
  <p:clrMapOvr>
    <a:masterClrMapping/>
  </p:clrMapOvr>
  <p:hf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Safety 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날짜 개체 틀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720A4F-17D2-4197-9C1F-D555381DAC5D}" type="datetimeFigureOut">
              <a:rPr lang="ko-KR" altLang="en-US" smtClean="0"/>
              <a:t>2025-04-15</a:t>
            </a:fld>
            <a:endParaRPr lang="ko-KR" altLang="en-US"/>
          </a:p>
        </p:txBody>
      </p:sp>
      <p:sp>
        <p:nvSpPr>
          <p:cNvPr id="3" name="바닥글 개체 틀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8" name="Text Box 6"/>
          <p:cNvSpPr txBox="1">
            <a:spLocks noChangeArrowheads="1"/>
          </p:cNvSpPr>
          <p:nvPr userDrawn="1"/>
        </p:nvSpPr>
        <p:spPr bwMode="auto">
          <a:xfrm>
            <a:off x="1311107" y="2080458"/>
            <a:ext cx="7347809" cy="13234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eaLnBrk="0" hangingPunct="0">
              <a:defRPr kumimoji="1" sz="1300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defRPr>
            </a:lvl1pPr>
            <a:lvl2pPr marL="742950" indent="-285750" eaLnBrk="0" hangingPunct="0">
              <a:defRPr kumimoji="1" sz="1300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defRPr>
            </a:lvl2pPr>
            <a:lvl3pPr marL="1143000" indent="-228600" eaLnBrk="0" hangingPunct="0">
              <a:defRPr kumimoji="1" sz="1300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defRPr>
            </a:lvl3pPr>
            <a:lvl4pPr marL="1600200" indent="-228600" eaLnBrk="0" hangingPunct="0">
              <a:defRPr kumimoji="1" sz="1300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defRPr>
            </a:lvl4pPr>
            <a:lvl5pPr marL="2057400" indent="-228600" eaLnBrk="0" hangingPunct="0">
              <a:defRPr kumimoji="1" sz="1300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defRPr>
            </a:lvl5pPr>
            <a:lvl6pPr marL="2514600" indent="-228600" algn="ctr" eaLnBrk="0" fontAlgn="base" hangingPunct="0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defRPr kumimoji="1" sz="1300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defRPr>
            </a:lvl6pPr>
            <a:lvl7pPr marL="2971800" indent="-228600" algn="ctr" eaLnBrk="0" fontAlgn="base" hangingPunct="0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defRPr kumimoji="1" sz="1300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defRPr>
            </a:lvl7pPr>
            <a:lvl8pPr marL="3429000" indent="-228600" algn="ctr" eaLnBrk="0" fontAlgn="base" hangingPunct="0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defRPr kumimoji="1" sz="1300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defRPr>
            </a:lvl8pPr>
            <a:lvl9pPr marL="3886200" indent="-228600" algn="ctr" eaLnBrk="0" fontAlgn="base" hangingPunct="0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defRPr kumimoji="1" sz="1300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defRPr>
            </a:lvl9pPr>
          </a:lstStyle>
          <a:p>
            <a:pPr eaLnBrk="1" hangingPunct="1"/>
            <a:r>
              <a:rPr lang="en-US" altLang="ko-KR" sz="8000" b="0" dirty="0">
                <a:solidFill>
                  <a:srgbClr val="000000"/>
                </a:solidFill>
                <a:effectLst/>
                <a:latin typeface="현대하모니 B" pitchFamily="18" charset="-127"/>
                <a:ea typeface="현대하모니 B" pitchFamily="18" charset="-127"/>
                <a:cs typeface="Arial" pitchFamily="34" charset="0"/>
              </a:rPr>
              <a:t>Safety Contact</a:t>
            </a:r>
          </a:p>
        </p:txBody>
      </p:sp>
      <p:pic>
        <p:nvPicPr>
          <p:cNvPr id="9" name="Picture 2" descr="http://www.awardsnetwork.com/wp-content/uploads/2013/09/SafetyFirst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41349" y="4215699"/>
            <a:ext cx="2410743" cy="24107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2"/>
          <p:cNvPicPr preferRelativeResize="0">
            <a:picLocks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8807" y="476672"/>
            <a:ext cx="900000" cy="248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1" name="그림 10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37528" y="6456796"/>
            <a:ext cx="1368000" cy="3565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3736874"/>
      </p:ext>
    </p:extLst>
  </p:cSld>
  <p:clrMapOvr>
    <a:masterClrMapping/>
  </p:clrMapOvr>
  <p:hf hdr="0" ft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보고순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Text Box 17"/>
          <p:cNvSpPr txBox="1">
            <a:spLocks noChangeArrowheads="1"/>
          </p:cNvSpPr>
          <p:nvPr userDrawn="1"/>
        </p:nvSpPr>
        <p:spPr bwMode="auto">
          <a:xfrm>
            <a:off x="3456820" y="1628800"/>
            <a:ext cx="1022717" cy="52065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90488" tIns="44450" rIns="90488" bIns="44450">
            <a:spAutoFit/>
          </a:bodyPr>
          <a:lstStyle/>
          <a:p>
            <a:pPr eaLnBrk="0" fontAlgn="ctr" latinLnBrk="0" hangingPunct="0">
              <a:buSzPct val="75000"/>
              <a:buFont typeface="Wingdings" pitchFamily="2" charset="2"/>
              <a:buNone/>
            </a:pPr>
            <a:r>
              <a:rPr kumimoji="1" lang="ko-KR" altLang="en-US" sz="2800" dirty="0">
                <a:solidFill>
                  <a:srgbClr val="000000"/>
                </a:solidFill>
                <a:effectLst/>
                <a:latin typeface="현대하모니 B" pitchFamily="18" charset="-127"/>
                <a:ea typeface="현대하모니 B" pitchFamily="18" charset="-127"/>
              </a:rPr>
              <a:t>목  차</a:t>
            </a:r>
            <a:endParaRPr kumimoji="1" lang="en-US" altLang="ko-KR" sz="2800" dirty="0">
              <a:solidFill>
                <a:srgbClr val="000000"/>
              </a:solidFill>
              <a:effectLst/>
              <a:latin typeface="현대하모니 B" pitchFamily="18" charset="-127"/>
              <a:ea typeface="현대하모니 B" pitchFamily="18" charset="-127"/>
            </a:endParaRPr>
          </a:p>
        </p:txBody>
      </p:sp>
      <p:sp>
        <p:nvSpPr>
          <p:cNvPr id="32" name="Line 10"/>
          <p:cNvSpPr>
            <a:spLocks noChangeShapeType="1"/>
          </p:cNvSpPr>
          <p:nvPr userDrawn="1">
            <p:custDataLst>
              <p:tags r:id="rId1"/>
            </p:custDataLst>
          </p:nvPr>
        </p:nvSpPr>
        <p:spPr bwMode="auto">
          <a:xfrm>
            <a:off x="3327619" y="2149004"/>
            <a:ext cx="6578381" cy="0"/>
          </a:xfrm>
          <a:prstGeom prst="line">
            <a:avLst/>
          </a:prstGeom>
          <a:noFill/>
          <a:ln w="28575">
            <a:solidFill>
              <a:srgbClr val="17496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ko-KR" altLang="en-US">
              <a:solidFill>
                <a:prstClr val="black"/>
              </a:solidFill>
            </a:endParaRPr>
          </a:p>
        </p:txBody>
      </p:sp>
      <p:sp>
        <p:nvSpPr>
          <p:cNvPr id="33" name="Line 10"/>
          <p:cNvSpPr>
            <a:spLocks noChangeShapeType="1"/>
          </p:cNvSpPr>
          <p:nvPr userDrawn="1">
            <p:custDataLst>
              <p:tags r:id="rId2"/>
            </p:custDataLst>
          </p:nvPr>
        </p:nvSpPr>
        <p:spPr bwMode="auto">
          <a:xfrm>
            <a:off x="3340319" y="2199804"/>
            <a:ext cx="6578381" cy="0"/>
          </a:xfrm>
          <a:prstGeom prst="line">
            <a:avLst/>
          </a:prstGeom>
          <a:noFill/>
          <a:ln w="6350">
            <a:solidFill>
              <a:srgbClr val="17496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ko-KR" altLang="en-US">
              <a:solidFill>
                <a:prstClr val="black"/>
              </a:solidFill>
            </a:endParaRPr>
          </a:p>
        </p:txBody>
      </p:sp>
      <p:sp>
        <p:nvSpPr>
          <p:cNvPr id="34" name="텍스트 개체 틀 5"/>
          <p:cNvSpPr>
            <a:spLocks noGrp="1"/>
          </p:cNvSpPr>
          <p:nvPr>
            <p:ph type="body" sz="quarter" idx="10" hasCustomPrompt="1"/>
          </p:nvPr>
        </p:nvSpPr>
        <p:spPr>
          <a:xfrm>
            <a:off x="3340100" y="2340372"/>
            <a:ext cx="6565900" cy="3528616"/>
          </a:xfrm>
        </p:spPr>
        <p:txBody>
          <a:bodyPr>
            <a:normAutofit/>
          </a:bodyPr>
          <a:lstStyle>
            <a:lvl1pPr marL="0" indent="0">
              <a:lnSpc>
                <a:spcPct val="150000"/>
              </a:lnSpc>
              <a:buFont typeface="+mj-lt"/>
              <a:buAutoNum type="romanUcPeriod"/>
              <a:defRPr sz="2000">
                <a:latin typeface="현대하모니 B" pitchFamily="18" charset="-127"/>
                <a:ea typeface="현대하모니 B" pitchFamily="18" charset="-127"/>
              </a:defRPr>
            </a:lvl1pPr>
            <a:lvl2pPr marL="176213" indent="0">
              <a:buFont typeface="+mj-lt"/>
              <a:buAutoNum type="arabicPeriod"/>
              <a:defRPr sz="1800"/>
            </a:lvl2pPr>
            <a:lvl3pPr marL="354013" indent="0">
              <a:buFont typeface="+mj-ea"/>
              <a:buAutoNum type="circleNumDbPlain"/>
              <a:defRPr sz="1400"/>
            </a:lvl3pPr>
          </a:lstStyle>
          <a:p>
            <a:pPr lvl="0"/>
            <a:r>
              <a:rPr lang="ko-KR" altLang="en-US" dirty="0"/>
              <a:t> 마스터 텍스트 스타일을 편집합니다</a:t>
            </a:r>
          </a:p>
          <a:p>
            <a:pPr lvl="1"/>
            <a:r>
              <a:rPr lang="ko-KR" altLang="en-US" dirty="0"/>
              <a:t> 둘째 수준</a:t>
            </a:r>
          </a:p>
          <a:p>
            <a:pPr lvl="2"/>
            <a:r>
              <a:rPr lang="ko-KR" altLang="en-US" dirty="0"/>
              <a:t> 셋째 수준</a:t>
            </a:r>
          </a:p>
        </p:txBody>
      </p:sp>
      <p:pic>
        <p:nvPicPr>
          <p:cNvPr id="7" name="Picture 2"/>
          <p:cNvPicPr preferRelativeResize="0">
            <a:picLocks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8807" y="588312"/>
            <a:ext cx="900000" cy="248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" name="그림 7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37528" y="6456796"/>
            <a:ext cx="1368000" cy="356580"/>
          </a:xfrm>
          <a:prstGeom prst="rect">
            <a:avLst/>
          </a:prstGeom>
        </p:spPr>
      </p:pic>
      <p:pic>
        <p:nvPicPr>
          <p:cNvPr id="10" name="그림 9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608153" y="103345"/>
            <a:ext cx="1097375" cy="3901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4124593"/>
      </p:ext>
    </p:extLst>
  </p:cSld>
  <p:clrMapOvr>
    <a:masterClrMapping/>
  </p:clrMapOvr>
  <p:hf hdr="0" ft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간지_별첨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3" name="Picture 2"/>
          <p:cNvPicPr preferRelativeResize="0">
            <a:picLocks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8807" y="476672"/>
            <a:ext cx="900000" cy="248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제목 1"/>
          <p:cNvSpPr>
            <a:spLocks noGrp="1"/>
          </p:cNvSpPr>
          <p:nvPr>
            <p:ph type="ctrTitle" hasCustomPrompt="1"/>
          </p:nvPr>
        </p:nvSpPr>
        <p:spPr>
          <a:xfrm>
            <a:off x="1352600" y="1628800"/>
            <a:ext cx="7200800" cy="1260000"/>
          </a:xfrm>
          <a:ln w="28575">
            <a:solidFill>
              <a:schemeClr val="tx2"/>
            </a:solidFill>
          </a:ln>
        </p:spPr>
        <p:txBody>
          <a:bodyPr/>
          <a:lstStyle>
            <a:lvl1pPr algn="ctr">
              <a:defRPr sz="4000"/>
            </a:lvl1pPr>
          </a:lstStyle>
          <a:p>
            <a:r>
              <a:rPr lang="ko-KR" altLang="en-US" dirty="0"/>
              <a:t>별 첨</a:t>
            </a:r>
          </a:p>
        </p:txBody>
      </p:sp>
      <p:pic>
        <p:nvPicPr>
          <p:cNvPr id="7" name="그림 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37528" y="6456796"/>
            <a:ext cx="1368000" cy="356580"/>
          </a:xfrm>
          <a:prstGeom prst="rect">
            <a:avLst/>
          </a:prstGeom>
        </p:spPr>
      </p:pic>
      <p:pic>
        <p:nvPicPr>
          <p:cNvPr id="9" name="그림 8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8608153" y="103345"/>
            <a:ext cx="1097375" cy="3901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6127828"/>
      </p:ext>
    </p:extLst>
  </p:cSld>
  <p:clrMapOvr>
    <a:masterClrMapping/>
  </p:clrMapOvr>
  <p:hf hdr="0" ft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마지막 장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TextBox 30"/>
          <p:cNvSpPr txBox="1"/>
          <p:nvPr userDrawn="1"/>
        </p:nvSpPr>
        <p:spPr>
          <a:xfrm>
            <a:off x="2396716" y="2492896"/>
            <a:ext cx="5112568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7200" spc="600" dirty="0">
                <a:solidFill>
                  <a:schemeClr val="tx1"/>
                </a:solidFill>
                <a:effectLst/>
                <a:latin typeface="+mj-ea"/>
                <a:ea typeface="+mj-ea"/>
              </a:rPr>
              <a:t>감사합니다</a:t>
            </a:r>
          </a:p>
        </p:txBody>
      </p:sp>
      <p:pic>
        <p:nvPicPr>
          <p:cNvPr id="33" name="Picture 2"/>
          <p:cNvPicPr preferRelativeResize="0">
            <a:picLocks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8807" y="476672"/>
            <a:ext cx="900000" cy="248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" name="그림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37528" y="6456796"/>
            <a:ext cx="1368000" cy="356580"/>
          </a:xfrm>
          <a:prstGeom prst="rect">
            <a:avLst/>
          </a:prstGeom>
        </p:spPr>
      </p:pic>
      <p:pic>
        <p:nvPicPr>
          <p:cNvPr id="8" name="그림 7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8608153" y="103345"/>
            <a:ext cx="1097375" cy="3901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474232"/>
      </p:ext>
    </p:extLst>
  </p:cSld>
  <p:clrMapOvr>
    <a:masterClrMapping/>
  </p:clrMapOvr>
  <p:hf hdr="0" ft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개체 틀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495300" y="1600201"/>
            <a:ext cx="89154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2"/>
          </p:nvPr>
        </p:nvSpPr>
        <p:spPr>
          <a:xfrm>
            <a:off x="495300" y="6356351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F720A4F-17D2-4197-9C1F-D555381DAC5D}" type="datetimeFigureOut">
              <a:rPr lang="ko-KR" altLang="en-US" smtClean="0"/>
              <a:t>2025-04-15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3"/>
          </p:nvPr>
        </p:nvSpPr>
        <p:spPr>
          <a:xfrm>
            <a:off x="3384550" y="6356351"/>
            <a:ext cx="31369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4"/>
          </p:nvPr>
        </p:nvSpPr>
        <p:spPr>
          <a:xfrm>
            <a:off x="7099300" y="6356351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12F5F0A-9516-46D7-A47E-A6B5AC51DDF8}" type="slidenum">
              <a:rPr lang="ko-KR" altLang="en-US" smtClean="0"/>
              <a:t>‹#›</a:t>
            </a:fld>
            <a:endParaRPr lang="ko-KR" alt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CE45BAB-1C00-499D-E542-C0EE518DAB15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63500" y="6642100"/>
            <a:ext cx="3844925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ko-KR" altLang="en-US" sz="10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본 문서는 현대제철의 정보자산으로 관련 법령에 의해 보호 받습니다.</a:t>
            </a:r>
          </a:p>
        </p:txBody>
      </p:sp>
    </p:spTree>
    <p:extLst>
      <p:ext uri="{BB962C8B-B14F-4D97-AF65-F5344CB8AC3E}">
        <p14:creationId xmlns:p14="http://schemas.microsoft.com/office/powerpoint/2010/main" val="1833408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76" r:id="rId2"/>
    <p:sldLayoutId id="2147483655" r:id="rId3"/>
    <p:sldLayoutId id="2147483677" r:id="rId4"/>
    <p:sldLayoutId id="2147483658" r:id="rId5"/>
    <p:sldLayoutId id="2147483657" r:id="rId6"/>
    <p:sldLayoutId id="2147483659" r:id="rId7"/>
    <p:sldLayoutId id="2147483662" r:id="rId8"/>
    <p:sldLayoutId id="2147483660" r:id="rId9"/>
    <p:sldLayoutId id="2147483680" r:id="rId10"/>
    <p:sldLayoutId id="2147483685" r:id="rId11"/>
    <p:sldLayoutId id="2147483686" r:id="rId12"/>
  </p:sldLayoutIdLst>
  <p:txStyles>
    <p:titleStyle>
      <a:lvl1pPr algn="ctr" defTabSz="914400" rtl="0" eaLnBrk="1" latinLnBrk="1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1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1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1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1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image" Target="../media/image13.png"/><Relationship Id="rId7" Type="http://schemas.openxmlformats.org/officeDocument/2006/relationships/image" Target="../media/image17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4" Type="http://schemas.openxmlformats.org/officeDocument/2006/relationships/image" Target="../media/image14.jpe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0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Box 10"/>
          <p:cNvSpPr txBox="1">
            <a:spLocks noChangeArrowheads="1"/>
          </p:cNvSpPr>
          <p:nvPr/>
        </p:nvSpPr>
        <p:spPr bwMode="auto">
          <a:xfrm>
            <a:off x="628631" y="1884580"/>
            <a:ext cx="7887889" cy="4848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83960" tIns="41980" rIns="83960" bIns="41980" anchor="t">
            <a:spAutoFit/>
          </a:bodyPr>
          <a:lstStyle>
            <a:lvl1pPr defTabSz="8382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defTabSz="8382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defTabSz="8382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defTabSz="8382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defTabSz="8382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defTabSz="8382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defTabSz="8382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defTabSz="8382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defTabSz="8382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eaLnBrk="1" hangingPunct="1">
              <a:spcBef>
                <a:spcPct val="20000"/>
              </a:spcBef>
            </a:pPr>
            <a:r>
              <a:rPr lang="ko-KR" altLang="en-US" sz="2600" b="0" dirty="0">
                <a:latin typeface="현대하모니 B" pitchFamily="18" charset="-127"/>
                <a:ea typeface="현대하모니 B" pitchFamily="18" charset="-127"/>
              </a:rPr>
              <a:t>제안센터 </a:t>
            </a:r>
            <a:r>
              <a:rPr lang="ko-KR" altLang="en-US" sz="2600" dirty="0">
                <a:latin typeface="현대하모니 B" pitchFamily="18" charset="-127"/>
                <a:ea typeface="현대하모니 B" pitchFamily="18" charset="-127"/>
              </a:rPr>
              <a:t>현업공모 제안서</a:t>
            </a:r>
            <a:endParaRPr lang="ko-KR" altLang="en-US" sz="2600" b="0" dirty="0">
              <a:latin typeface="현대하모니 B" pitchFamily="18" charset="-127"/>
              <a:ea typeface="현대하모니 B" pitchFamily="18" charset="-127"/>
            </a:endParaRPr>
          </a:p>
        </p:txBody>
      </p:sp>
      <p:sp>
        <p:nvSpPr>
          <p:cNvPr id="7" name="Text Box 10"/>
          <p:cNvSpPr txBox="1">
            <a:spLocks noChangeArrowheads="1"/>
          </p:cNvSpPr>
          <p:nvPr/>
        </p:nvSpPr>
        <p:spPr bwMode="auto">
          <a:xfrm>
            <a:off x="653129" y="5805264"/>
            <a:ext cx="3539072" cy="3617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3960" tIns="41980" rIns="83960" bIns="41980">
            <a:spAutoFit/>
          </a:bodyPr>
          <a:lstStyle>
            <a:lvl1pPr defTabSz="8382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defTabSz="8382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defTabSz="8382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defTabSz="8382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defTabSz="8382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defTabSz="8382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defTabSz="8382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defTabSz="8382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defTabSz="8382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eaLnBrk="1" hangingPunct="1">
              <a:spcBef>
                <a:spcPct val="20000"/>
              </a:spcBef>
            </a:pPr>
            <a:r>
              <a:rPr lang="ko-KR" altLang="en-US" b="0" dirty="0">
                <a:latin typeface="현대하모니 M" panose="02020603020101020101" pitchFamily="18" charset="-127"/>
                <a:ea typeface="현대하모니 M" panose="02020603020101020101" pitchFamily="18" charset="-127"/>
              </a:rPr>
              <a:t>정비기술센터 제선정비실 소결정비팀</a:t>
            </a:r>
          </a:p>
        </p:txBody>
      </p:sp>
      <p:graphicFrame>
        <p:nvGraphicFramePr>
          <p:cNvPr id="11" name="Group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3455071"/>
              </p:ext>
            </p:extLst>
          </p:nvPr>
        </p:nvGraphicFramePr>
        <p:xfrm>
          <a:off x="8541399" y="538741"/>
          <a:ext cx="1171177" cy="823914"/>
        </p:xfrm>
        <a:graphic>
          <a:graphicData uri="http://schemas.openxmlformats.org/drawingml/2006/table">
            <a:tbl>
              <a:tblPr/>
              <a:tblGrid>
                <a:gridCol w="31231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5886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74638">
                <a:tc>
                  <a:txBody>
                    <a:bodyPr/>
                    <a:lstStyle/>
                    <a:p>
                      <a:pPr marL="0" marR="0" lvl="0" indent="0" algn="ctr" defTabSz="1042988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kumimoji="0" lang="ko-KR" alt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M" pitchFamily="18" charset="-127"/>
                          <a:ea typeface="현대하모니 M" pitchFamily="18" charset="-127"/>
                        </a:rPr>
                        <a:t>○</a:t>
                      </a:r>
                      <a:endParaRPr kumimoji="0" lang="en-US" altLang="ko-KR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현대하모니 M" pitchFamily="18" charset="-127"/>
                        <a:ea typeface="현대하모니 M" pitchFamily="18" charset="-127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42988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ko-KR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M" pitchFamily="18" charset="-127"/>
                          <a:ea typeface="현대하모니 M" pitchFamily="18" charset="-127"/>
                        </a:rPr>
                        <a:t>의사결정</a:t>
                      </a: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74638">
                <a:tc>
                  <a:txBody>
                    <a:bodyPr/>
                    <a:lstStyle/>
                    <a:p>
                      <a:pPr marL="0" marR="0" lvl="0" indent="0" algn="ctr" defTabSz="1042988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kumimoji="0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M" pitchFamily="18" charset="-127"/>
                          <a:ea typeface="현대하모니 M" pitchFamily="18" charset="-127"/>
                        </a:rPr>
                        <a:t>○</a:t>
                      </a:r>
                      <a:endParaRPr kumimoji="0" lang="en-US" altLang="ko-KR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현대하모니 M" pitchFamily="18" charset="-127"/>
                        <a:ea typeface="현대하모니 M" pitchFamily="18" charset="-127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42988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ko-KR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M" pitchFamily="18" charset="-127"/>
                          <a:ea typeface="현대하모니 M" pitchFamily="18" charset="-127"/>
                        </a:rPr>
                        <a:t>지시사항</a:t>
                      </a: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74638">
                <a:tc>
                  <a:txBody>
                    <a:bodyPr/>
                    <a:lstStyle/>
                    <a:p>
                      <a:pPr marL="0" marR="0" lvl="0" indent="0" algn="ctr" defTabSz="1042988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kumimoji="0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M" pitchFamily="18" charset="-127"/>
                          <a:ea typeface="현대하모니 M" pitchFamily="18" charset="-127"/>
                        </a:rPr>
                        <a:t>●</a:t>
                      </a:r>
                      <a:endParaRPr kumimoji="0" lang="en-US" altLang="ko-KR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현대하모니 M" pitchFamily="18" charset="-127"/>
                        <a:ea typeface="현대하모니 M" pitchFamily="18" charset="-127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42988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ko-KR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M" pitchFamily="18" charset="-127"/>
                          <a:ea typeface="현대하모니 M" pitchFamily="18" charset="-127"/>
                        </a:rPr>
                        <a:t>정보전달</a:t>
                      </a: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032487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제목 1"/>
          <p:cNvSpPr txBox="1">
            <a:spLocks/>
          </p:cNvSpPr>
          <p:nvPr/>
        </p:nvSpPr>
        <p:spPr>
          <a:xfrm>
            <a:off x="498028" y="274365"/>
            <a:ext cx="7407299" cy="418058"/>
          </a:xfrm>
          <a:prstGeom prst="rect">
            <a:avLst/>
          </a:prstGeom>
        </p:spPr>
        <p:txBody>
          <a:bodyPr lIns="91398" tIns="45699" rIns="91398" bIns="45699"/>
          <a:lstStyle>
            <a:lvl1pPr algn="l" defTabSz="914298" rtl="0" eaLnBrk="1" latinLnBrk="1" hangingPunct="1">
              <a:spcBef>
                <a:spcPct val="0"/>
              </a:spcBef>
              <a:buNone/>
              <a:defRPr sz="2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spcBef>
                <a:spcPct val="20000"/>
              </a:spcBef>
            </a:pPr>
            <a:r>
              <a:rPr lang="ko-KR" altLang="en-US" sz="2000" dirty="0">
                <a:solidFill>
                  <a:srgbClr val="000000"/>
                </a:solidFill>
                <a:latin typeface="현대하모니 M" pitchFamily="18" charset="-127"/>
                <a:ea typeface="현대하모니 M" pitchFamily="18" charset="-127"/>
                <a:cs typeface="Arial" charset="0"/>
              </a:rPr>
              <a:t>▣ 제안센터</a:t>
            </a:r>
            <a:r>
              <a:rPr lang="en-US" altLang="ko-KR" sz="2000" dirty="0">
                <a:solidFill>
                  <a:srgbClr val="000000"/>
                </a:solidFill>
                <a:latin typeface="현대하모니 M" pitchFamily="18" charset="-127"/>
                <a:ea typeface="현대하모니 M" pitchFamily="18" charset="-127"/>
                <a:cs typeface="Arial" charset="0"/>
              </a:rPr>
              <a:t> </a:t>
            </a:r>
            <a:r>
              <a:rPr lang="ko-KR" altLang="en-US" sz="2000" dirty="0">
                <a:solidFill>
                  <a:srgbClr val="000000"/>
                </a:solidFill>
                <a:latin typeface="현대하모니 M" pitchFamily="18" charset="-127"/>
                <a:ea typeface="현대하모니 M" pitchFamily="18" charset="-127"/>
                <a:cs typeface="Arial" charset="0"/>
              </a:rPr>
              <a:t>현업공모 제안서</a:t>
            </a:r>
            <a:endParaRPr lang="ko-KR" altLang="en-US" sz="2000" dirty="0">
              <a:latin typeface="현대하모니 B" pitchFamily="18" charset="-127"/>
              <a:ea typeface="현대하모니 B" pitchFamily="18" charset="-127"/>
            </a:endParaRPr>
          </a:p>
        </p:txBody>
      </p:sp>
      <p:graphicFrame>
        <p:nvGraphicFramePr>
          <p:cNvPr id="15" name="Group 1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9950411"/>
              </p:ext>
            </p:extLst>
          </p:nvPr>
        </p:nvGraphicFramePr>
        <p:xfrm>
          <a:off x="453000" y="944287"/>
          <a:ext cx="9000000" cy="5400000"/>
        </p:xfrm>
        <a:graphic>
          <a:graphicData uri="http://schemas.openxmlformats.org/drawingml/2006/table">
            <a:tbl>
              <a:tblPr/>
              <a:tblGrid>
                <a:gridCol w="1080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800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080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800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08000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216000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46800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M" panose="02020603020101020101" pitchFamily="18" charset="-127"/>
                          <a:ea typeface="현대하모니 M" panose="02020603020101020101" pitchFamily="18" charset="-127"/>
                        </a:rPr>
                        <a:t>품 명</a:t>
                      </a:r>
                    </a:p>
                  </a:txBody>
                  <a:tcPr marL="36000" marR="36000" marT="36000" marB="3600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609600" marR="0" indent="-609600" algn="l" defTabSz="636588" rtl="0" eaLnBrk="0" fontAlgn="auto" latinLnBrk="0" hangingPunct="0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200" b="0" dirty="0">
                          <a:solidFill>
                            <a:srgbClr val="000000"/>
                          </a:solidFill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 </a:t>
                      </a:r>
                      <a:r>
                        <a:rPr kumimoji="0" lang="ko-KR" altLang="en-US" sz="1200" b="0" dirty="0">
                          <a:solidFill>
                            <a:srgbClr val="000000"/>
                          </a:solidFill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쿨러 </a:t>
                      </a:r>
                      <a:r>
                        <a:rPr kumimoji="0" lang="ko-KR" altLang="en-US" sz="1200" b="0" dirty="0" err="1">
                          <a:solidFill>
                            <a:srgbClr val="000000"/>
                          </a:solidFill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냉각팬</a:t>
                      </a:r>
                      <a:r>
                        <a:rPr kumimoji="0" lang="ko-KR" altLang="en-US" sz="1200" b="0" dirty="0">
                          <a:solidFill>
                            <a:srgbClr val="000000"/>
                          </a:solidFill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 블레이드</a:t>
                      </a:r>
                    </a:p>
                  </a:txBody>
                  <a:tcPr marL="36000" marR="36000" marT="36000" marB="3600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M" pitchFamily="18" charset="-127"/>
                          <a:ea typeface="현대하모니 M" pitchFamily="18" charset="-127"/>
                        </a:rPr>
                        <a:t>담당자</a:t>
                      </a:r>
                    </a:p>
                  </a:txBody>
                  <a:tcPr marL="36000" marR="36000" marT="36000" marB="3600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성대식 책임매니저</a:t>
                      </a:r>
                      <a:endParaRPr kumimoji="1" lang="en-US" altLang="ko-KR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36000" marR="36000" marT="36000" marB="3600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M" panose="02020603020101020101" pitchFamily="18" charset="-127"/>
                          <a:ea typeface="현대하모니 M" panose="02020603020101020101" pitchFamily="18" charset="-127"/>
                        </a:rPr>
                        <a:t>공 장</a:t>
                      </a:r>
                    </a:p>
                  </a:txBody>
                  <a:tcPr marL="36000" marR="36000" marT="36000" marB="3600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소결공장</a:t>
                      </a:r>
                      <a:endParaRPr kumimoji="1" lang="en-US" altLang="ko-KR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36000" marR="36000" marT="36000" marB="3600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M" pitchFamily="18" charset="-127"/>
                          <a:ea typeface="현대하모니 M" pitchFamily="18" charset="-127"/>
                        </a:rPr>
                        <a:t>설 비</a:t>
                      </a:r>
                    </a:p>
                  </a:txBody>
                  <a:tcPr marL="36000" marR="36000" marT="36000" marB="3600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쿨러설비 </a:t>
                      </a:r>
                      <a:r>
                        <a:rPr kumimoji="1" lang="ko-KR" altLang="en-US" sz="1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냉각팬</a:t>
                      </a:r>
                      <a:endParaRPr kumimoji="1" lang="en-US" altLang="ko-KR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36000" marR="36000" marT="36000" marB="3600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M" panose="02020603020101020101" pitchFamily="18" charset="-127"/>
                          <a:ea typeface="현대하모니 M" panose="02020603020101020101" pitchFamily="18" charset="-127"/>
                        </a:rPr>
                        <a:t>용 도</a:t>
                      </a:r>
                    </a:p>
                  </a:txBody>
                  <a:tcPr marL="36000" marR="36000" marT="36000" marB="3600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소결광</a:t>
                      </a:r>
                      <a:r>
                        <a:rPr kumimoji="1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 냉각</a:t>
                      </a:r>
                      <a:endParaRPr kumimoji="1" lang="en-US" altLang="ko-KR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36000" marR="36000" marT="36000" marB="3600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46400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ko-KR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현대하모니 M" panose="02020603020101020101" pitchFamily="18" charset="-127"/>
                        <a:ea typeface="현대하모니 M" panose="02020603020101020101" pitchFamily="18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M" panose="02020603020101020101" pitchFamily="18" charset="-127"/>
                          <a:ea typeface="현대하모니 M" panose="02020603020101020101" pitchFamily="18" charset="-127"/>
                        </a:rPr>
                        <a:t>개 요</a:t>
                      </a:r>
                    </a:p>
                  </a:txBody>
                  <a:tcPr marL="36000" marR="36000" marT="36000" marB="3600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ko-KR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36000" marR="36000" marT="36000" marB="3600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8" name="Text Box 206">
            <a:extLst>
              <a:ext uri="{FF2B5EF4-FFF2-40B4-BE49-F238E27FC236}">
                <a16:creationId xmlns:a16="http://schemas.microsoft.com/office/drawing/2014/main" id="{9D5C93AF-0628-07D5-59D4-6842AF19B84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495723" y="1875716"/>
            <a:ext cx="5029200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 kumimoji="1" sz="1300">
                <a:solidFill>
                  <a:schemeClr val="tx1"/>
                </a:solidFill>
                <a:latin typeface="HY견고딕" panose="02030600000101010101" pitchFamily="18" charset="-127"/>
                <a:ea typeface="HY견고딕" panose="02030600000101010101" pitchFamily="18" charset="-127"/>
              </a:defRPr>
            </a:lvl1pPr>
            <a:lvl2pPr marL="742950" indent="-285750" eaLnBrk="0" hangingPunct="0">
              <a:defRPr kumimoji="1" sz="1300">
                <a:solidFill>
                  <a:schemeClr val="tx1"/>
                </a:solidFill>
                <a:latin typeface="HY견고딕" panose="02030600000101010101" pitchFamily="18" charset="-127"/>
                <a:ea typeface="HY견고딕" panose="02030600000101010101" pitchFamily="18" charset="-127"/>
              </a:defRPr>
            </a:lvl2pPr>
            <a:lvl3pPr marL="1143000" indent="-228600" eaLnBrk="0" hangingPunct="0">
              <a:defRPr kumimoji="1" sz="1300">
                <a:solidFill>
                  <a:schemeClr val="tx1"/>
                </a:solidFill>
                <a:latin typeface="HY견고딕" panose="02030600000101010101" pitchFamily="18" charset="-127"/>
                <a:ea typeface="HY견고딕" panose="02030600000101010101" pitchFamily="18" charset="-127"/>
              </a:defRPr>
            </a:lvl3pPr>
            <a:lvl4pPr marL="1600200" indent="-228600" eaLnBrk="0" hangingPunct="0">
              <a:defRPr kumimoji="1" sz="1300">
                <a:solidFill>
                  <a:schemeClr val="tx1"/>
                </a:solidFill>
                <a:latin typeface="HY견고딕" panose="02030600000101010101" pitchFamily="18" charset="-127"/>
                <a:ea typeface="HY견고딕" panose="02030600000101010101" pitchFamily="18" charset="-127"/>
              </a:defRPr>
            </a:lvl4pPr>
            <a:lvl5pPr marL="2057400" indent="-228600" eaLnBrk="0" hangingPunct="0">
              <a:defRPr kumimoji="1" sz="1300">
                <a:solidFill>
                  <a:schemeClr val="tx1"/>
                </a:solidFill>
                <a:latin typeface="HY견고딕" panose="02030600000101010101" pitchFamily="18" charset="-127"/>
                <a:ea typeface="HY견고딕" panose="02030600000101010101" pitchFamily="18" charset="-127"/>
              </a:defRPr>
            </a:lvl5pPr>
            <a:lvl6pPr marL="2514600" indent="-228600" algn="ctr" eaLnBrk="0" fontAlgn="base" hangingPunct="0">
              <a:lnSpc>
                <a:spcPct val="140000"/>
              </a:lnSpc>
              <a:spcBef>
                <a:spcPct val="30000"/>
              </a:spcBef>
              <a:spcAft>
                <a:spcPct val="30000"/>
              </a:spcAft>
              <a:buClr>
                <a:srgbClr val="333399"/>
              </a:buClr>
              <a:buFont typeface="Wingdings" panose="05000000000000000000" pitchFamily="2" charset="2"/>
              <a:defRPr kumimoji="1" sz="1300">
                <a:solidFill>
                  <a:schemeClr val="tx1"/>
                </a:solidFill>
                <a:latin typeface="HY견고딕" panose="02030600000101010101" pitchFamily="18" charset="-127"/>
                <a:ea typeface="HY견고딕" panose="02030600000101010101" pitchFamily="18" charset="-127"/>
              </a:defRPr>
            </a:lvl6pPr>
            <a:lvl7pPr marL="2971800" indent="-228600" algn="ctr" eaLnBrk="0" fontAlgn="base" hangingPunct="0">
              <a:lnSpc>
                <a:spcPct val="140000"/>
              </a:lnSpc>
              <a:spcBef>
                <a:spcPct val="30000"/>
              </a:spcBef>
              <a:spcAft>
                <a:spcPct val="30000"/>
              </a:spcAft>
              <a:buClr>
                <a:srgbClr val="333399"/>
              </a:buClr>
              <a:buFont typeface="Wingdings" panose="05000000000000000000" pitchFamily="2" charset="2"/>
              <a:defRPr kumimoji="1" sz="1300">
                <a:solidFill>
                  <a:schemeClr val="tx1"/>
                </a:solidFill>
                <a:latin typeface="HY견고딕" panose="02030600000101010101" pitchFamily="18" charset="-127"/>
                <a:ea typeface="HY견고딕" panose="02030600000101010101" pitchFamily="18" charset="-127"/>
              </a:defRPr>
            </a:lvl7pPr>
            <a:lvl8pPr marL="3429000" indent="-228600" algn="ctr" eaLnBrk="0" fontAlgn="base" hangingPunct="0">
              <a:lnSpc>
                <a:spcPct val="140000"/>
              </a:lnSpc>
              <a:spcBef>
                <a:spcPct val="30000"/>
              </a:spcBef>
              <a:spcAft>
                <a:spcPct val="30000"/>
              </a:spcAft>
              <a:buClr>
                <a:srgbClr val="333399"/>
              </a:buClr>
              <a:buFont typeface="Wingdings" panose="05000000000000000000" pitchFamily="2" charset="2"/>
              <a:defRPr kumimoji="1" sz="1300">
                <a:solidFill>
                  <a:schemeClr val="tx1"/>
                </a:solidFill>
                <a:latin typeface="HY견고딕" panose="02030600000101010101" pitchFamily="18" charset="-127"/>
                <a:ea typeface="HY견고딕" panose="02030600000101010101" pitchFamily="18" charset="-127"/>
              </a:defRPr>
            </a:lvl8pPr>
            <a:lvl9pPr marL="3886200" indent="-228600" algn="ctr" eaLnBrk="0" fontAlgn="base" hangingPunct="0">
              <a:lnSpc>
                <a:spcPct val="140000"/>
              </a:lnSpc>
              <a:spcBef>
                <a:spcPct val="30000"/>
              </a:spcBef>
              <a:spcAft>
                <a:spcPct val="30000"/>
              </a:spcAft>
              <a:buClr>
                <a:srgbClr val="333399"/>
              </a:buClr>
              <a:buFont typeface="Wingdings" panose="05000000000000000000" pitchFamily="2" charset="2"/>
              <a:defRPr kumimoji="1" sz="1300">
                <a:solidFill>
                  <a:schemeClr val="tx1"/>
                </a:solidFill>
                <a:latin typeface="HY견고딕" panose="02030600000101010101" pitchFamily="18" charset="-127"/>
                <a:ea typeface="HY견고딕" panose="02030600000101010101" pitchFamily="18" charset="-127"/>
              </a:defRPr>
            </a:lvl9pPr>
          </a:lstStyle>
          <a:p>
            <a:pPr eaLnBrk="1" fontAlgn="base" hangingPunct="1">
              <a:spcBef>
                <a:spcPct val="50000"/>
              </a:spcBef>
              <a:spcAft>
                <a:spcPct val="0"/>
              </a:spcAft>
            </a:pPr>
            <a:r>
              <a:rPr lang="en-US" altLang="en-US" sz="1400" b="1" dirty="0">
                <a:solidFill>
                  <a:srgbClr val="000000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sym typeface="Wingdings 2" panose="05020102010507070707" pitchFamily="18" charset="2"/>
              </a:rPr>
              <a:t>○</a:t>
            </a:r>
            <a:r>
              <a:rPr lang="en-US" altLang="ko-KR" sz="1400" b="1" dirty="0">
                <a:solidFill>
                  <a:srgbClr val="000000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sym typeface="Wingdings 2" panose="05020102010507070707" pitchFamily="18" charset="2"/>
              </a:rPr>
              <a:t> </a:t>
            </a:r>
            <a:r>
              <a:rPr lang="en-US" altLang="ko-KR" sz="1400" b="1" dirty="0">
                <a:solidFill>
                  <a:srgbClr val="000000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Cooler</a:t>
            </a:r>
            <a:endParaRPr lang="ko-KR" altLang="en-US" sz="1400" b="1" dirty="0">
              <a:solidFill>
                <a:srgbClr val="000000"/>
              </a:solidFill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</p:txBody>
      </p:sp>
      <p:sp>
        <p:nvSpPr>
          <p:cNvPr id="9" name="Text Box 42">
            <a:extLst>
              <a:ext uri="{FF2B5EF4-FFF2-40B4-BE49-F238E27FC236}">
                <a16:creationId xmlns:a16="http://schemas.microsoft.com/office/drawing/2014/main" id="{F756490B-2A81-ABF5-C98B-0F1A3362242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693786" y="2126835"/>
            <a:ext cx="5053013" cy="3323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Ins="0">
            <a:spAutoFit/>
          </a:bodyPr>
          <a:lstStyle>
            <a:lvl1pPr defTabSz="1279525" eaLnBrk="0" hangingPunct="0">
              <a:defRPr kumimoji="1" sz="1300">
                <a:solidFill>
                  <a:schemeClr val="tx1"/>
                </a:solidFill>
                <a:latin typeface="HY견고딕" panose="02030600000101010101" pitchFamily="18" charset="-127"/>
                <a:ea typeface="HY견고딕" panose="02030600000101010101" pitchFamily="18" charset="-127"/>
              </a:defRPr>
            </a:lvl1pPr>
            <a:lvl2pPr marL="742950" indent="-285750" defTabSz="1279525" eaLnBrk="0" hangingPunct="0">
              <a:defRPr kumimoji="1" sz="1300">
                <a:solidFill>
                  <a:schemeClr val="tx1"/>
                </a:solidFill>
                <a:latin typeface="HY견고딕" panose="02030600000101010101" pitchFamily="18" charset="-127"/>
                <a:ea typeface="HY견고딕" panose="02030600000101010101" pitchFamily="18" charset="-127"/>
              </a:defRPr>
            </a:lvl2pPr>
            <a:lvl3pPr marL="1143000" indent="-228600" defTabSz="1279525" eaLnBrk="0" hangingPunct="0">
              <a:defRPr kumimoji="1" sz="1300">
                <a:solidFill>
                  <a:schemeClr val="tx1"/>
                </a:solidFill>
                <a:latin typeface="HY견고딕" panose="02030600000101010101" pitchFamily="18" charset="-127"/>
                <a:ea typeface="HY견고딕" panose="02030600000101010101" pitchFamily="18" charset="-127"/>
              </a:defRPr>
            </a:lvl3pPr>
            <a:lvl4pPr marL="1600200" indent="-228600" defTabSz="1279525" eaLnBrk="0" hangingPunct="0">
              <a:defRPr kumimoji="1" sz="1300">
                <a:solidFill>
                  <a:schemeClr val="tx1"/>
                </a:solidFill>
                <a:latin typeface="HY견고딕" panose="02030600000101010101" pitchFamily="18" charset="-127"/>
                <a:ea typeface="HY견고딕" panose="02030600000101010101" pitchFamily="18" charset="-127"/>
              </a:defRPr>
            </a:lvl4pPr>
            <a:lvl5pPr marL="2057400" indent="-228600" defTabSz="1279525" eaLnBrk="0" hangingPunct="0">
              <a:defRPr kumimoji="1" sz="1300">
                <a:solidFill>
                  <a:schemeClr val="tx1"/>
                </a:solidFill>
                <a:latin typeface="HY견고딕" panose="02030600000101010101" pitchFamily="18" charset="-127"/>
                <a:ea typeface="HY견고딕" panose="02030600000101010101" pitchFamily="18" charset="-127"/>
              </a:defRPr>
            </a:lvl5pPr>
            <a:lvl6pPr marL="2514600" indent="-228600" algn="ctr" defTabSz="1279525" eaLnBrk="0" fontAlgn="base" hangingPunct="0">
              <a:lnSpc>
                <a:spcPct val="140000"/>
              </a:lnSpc>
              <a:spcBef>
                <a:spcPct val="30000"/>
              </a:spcBef>
              <a:spcAft>
                <a:spcPct val="30000"/>
              </a:spcAft>
              <a:buClr>
                <a:srgbClr val="333399"/>
              </a:buClr>
              <a:buFont typeface="Wingdings" panose="05000000000000000000" pitchFamily="2" charset="2"/>
              <a:defRPr kumimoji="1" sz="1300">
                <a:solidFill>
                  <a:schemeClr val="tx1"/>
                </a:solidFill>
                <a:latin typeface="HY견고딕" panose="02030600000101010101" pitchFamily="18" charset="-127"/>
                <a:ea typeface="HY견고딕" panose="02030600000101010101" pitchFamily="18" charset="-127"/>
              </a:defRPr>
            </a:lvl6pPr>
            <a:lvl7pPr marL="2971800" indent="-228600" algn="ctr" defTabSz="1279525" eaLnBrk="0" fontAlgn="base" hangingPunct="0">
              <a:lnSpc>
                <a:spcPct val="140000"/>
              </a:lnSpc>
              <a:spcBef>
                <a:spcPct val="30000"/>
              </a:spcBef>
              <a:spcAft>
                <a:spcPct val="30000"/>
              </a:spcAft>
              <a:buClr>
                <a:srgbClr val="333399"/>
              </a:buClr>
              <a:buFont typeface="Wingdings" panose="05000000000000000000" pitchFamily="2" charset="2"/>
              <a:defRPr kumimoji="1" sz="1300">
                <a:solidFill>
                  <a:schemeClr val="tx1"/>
                </a:solidFill>
                <a:latin typeface="HY견고딕" panose="02030600000101010101" pitchFamily="18" charset="-127"/>
                <a:ea typeface="HY견고딕" panose="02030600000101010101" pitchFamily="18" charset="-127"/>
              </a:defRPr>
            </a:lvl7pPr>
            <a:lvl8pPr marL="3429000" indent="-228600" algn="ctr" defTabSz="1279525" eaLnBrk="0" fontAlgn="base" hangingPunct="0">
              <a:lnSpc>
                <a:spcPct val="140000"/>
              </a:lnSpc>
              <a:spcBef>
                <a:spcPct val="30000"/>
              </a:spcBef>
              <a:spcAft>
                <a:spcPct val="30000"/>
              </a:spcAft>
              <a:buClr>
                <a:srgbClr val="333399"/>
              </a:buClr>
              <a:buFont typeface="Wingdings" panose="05000000000000000000" pitchFamily="2" charset="2"/>
              <a:defRPr kumimoji="1" sz="1300">
                <a:solidFill>
                  <a:schemeClr val="tx1"/>
                </a:solidFill>
                <a:latin typeface="HY견고딕" panose="02030600000101010101" pitchFamily="18" charset="-127"/>
                <a:ea typeface="HY견고딕" panose="02030600000101010101" pitchFamily="18" charset="-127"/>
              </a:defRPr>
            </a:lvl8pPr>
            <a:lvl9pPr marL="3886200" indent="-228600" algn="ctr" defTabSz="1279525" eaLnBrk="0" fontAlgn="base" hangingPunct="0">
              <a:lnSpc>
                <a:spcPct val="140000"/>
              </a:lnSpc>
              <a:spcBef>
                <a:spcPct val="30000"/>
              </a:spcBef>
              <a:spcAft>
                <a:spcPct val="30000"/>
              </a:spcAft>
              <a:buClr>
                <a:srgbClr val="333399"/>
              </a:buClr>
              <a:buFont typeface="Wingdings" panose="05000000000000000000" pitchFamily="2" charset="2"/>
              <a:defRPr kumimoji="1" sz="1300">
                <a:solidFill>
                  <a:schemeClr val="tx1"/>
                </a:solidFill>
                <a:latin typeface="HY견고딕" panose="02030600000101010101" pitchFamily="18" charset="-127"/>
                <a:ea typeface="HY견고딕" panose="02030600000101010101" pitchFamily="18" charset="-127"/>
              </a:defRPr>
            </a:lvl9pPr>
          </a:lstStyle>
          <a:p>
            <a:pPr eaLnBrk="1" fontAlgn="base" hangingPunct="1">
              <a:lnSpc>
                <a:spcPct val="130000"/>
              </a:lnSpc>
              <a:spcBef>
                <a:spcPct val="50000"/>
              </a:spcBef>
              <a:spcAft>
                <a:spcPct val="0"/>
              </a:spcAft>
            </a:pPr>
            <a:r>
              <a:rPr lang="en-US" altLang="ko-KR" sz="1200" b="1" dirty="0">
                <a:solidFill>
                  <a:srgbClr val="000000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- </a:t>
            </a:r>
            <a:r>
              <a:rPr lang="ko-KR" altLang="en-US" sz="1200" b="1" dirty="0" err="1">
                <a:solidFill>
                  <a:srgbClr val="000000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소결이</a:t>
            </a:r>
            <a:r>
              <a:rPr lang="ko-KR" altLang="en-US" sz="1200" b="1" dirty="0">
                <a:solidFill>
                  <a:srgbClr val="000000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 완료된 </a:t>
            </a:r>
            <a:r>
              <a:rPr lang="ko-KR" altLang="en-US" sz="1200" b="1" dirty="0" err="1">
                <a:solidFill>
                  <a:srgbClr val="000000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소결광</a:t>
            </a:r>
            <a:r>
              <a:rPr lang="en-US" altLang="ko-KR" sz="1200" b="1" dirty="0">
                <a:solidFill>
                  <a:srgbClr val="000000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(</a:t>
            </a:r>
            <a:r>
              <a:rPr lang="ko-KR" altLang="en-US" sz="1200" b="1" dirty="0">
                <a:solidFill>
                  <a:srgbClr val="000000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약 </a:t>
            </a:r>
            <a:r>
              <a:rPr lang="en-US" altLang="ko-KR" sz="1200" b="1" dirty="0">
                <a:solidFill>
                  <a:srgbClr val="000000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800</a:t>
            </a:r>
            <a:r>
              <a:rPr lang="ko-KR" altLang="en-US" sz="1200" b="1" dirty="0">
                <a:solidFill>
                  <a:srgbClr val="000000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℃</a:t>
            </a:r>
            <a:r>
              <a:rPr lang="en-US" altLang="ko-KR" sz="1200" b="1" dirty="0">
                <a:solidFill>
                  <a:srgbClr val="000000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)</a:t>
            </a:r>
            <a:r>
              <a:rPr lang="ko-KR" altLang="en-US" sz="1200" b="1" dirty="0">
                <a:solidFill>
                  <a:srgbClr val="000000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을 </a:t>
            </a:r>
            <a:r>
              <a:rPr lang="en-US" altLang="ko-KR" sz="1200" b="1" dirty="0">
                <a:solidFill>
                  <a:srgbClr val="000000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100</a:t>
            </a:r>
            <a:r>
              <a:rPr lang="ko-KR" altLang="en-US" sz="1200" b="1" dirty="0">
                <a:solidFill>
                  <a:srgbClr val="000000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℃이하로 냉각시키는 설비</a:t>
            </a:r>
            <a:endParaRPr lang="en-US" altLang="ko-KR" sz="1200" b="1" dirty="0">
              <a:solidFill>
                <a:srgbClr val="000000"/>
              </a:solidFill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</p:txBody>
      </p:sp>
      <p:graphicFrame>
        <p:nvGraphicFramePr>
          <p:cNvPr id="10" name="Group 213">
            <a:extLst>
              <a:ext uri="{FF2B5EF4-FFF2-40B4-BE49-F238E27FC236}">
                <a16:creationId xmlns:a16="http://schemas.microsoft.com/office/drawing/2014/main" id="{42816CEC-F745-33FF-056D-D4AB18A57FA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16796372"/>
              </p:ext>
            </p:extLst>
          </p:nvPr>
        </p:nvGraphicFramePr>
        <p:xfrm>
          <a:off x="6355658" y="2126836"/>
          <a:ext cx="2917822" cy="1894020"/>
        </p:xfrm>
        <a:graphic>
          <a:graphicData uri="http://schemas.openxmlformats.org/drawingml/2006/table">
            <a:tbl>
              <a:tblPr/>
              <a:tblGrid>
                <a:gridCol w="59605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1632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5550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70537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744557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145694">
                <a:tc rowSpan="2" gridSpan="2">
                  <a:txBody>
                    <a:bodyPr/>
                    <a:lstStyle/>
                    <a:p>
                      <a:pPr marL="0" marR="0" lvl="0" indent="0" algn="ctr" defTabSz="1033463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ea"/>
                          <a:ea typeface="+mj-ea"/>
                        </a:rPr>
                        <a:t>구분</a:t>
                      </a:r>
                      <a:endParaRPr kumimoji="1" lang="en-US" altLang="ko-KR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103320" marR="10332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pPr marL="0" marR="0" lvl="0" indent="0" algn="ctr" defTabSz="1033463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ko-KR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HY견고딕" pitchFamily="18" charset="-127"/>
                        <a:ea typeface="HY견고딕" pitchFamily="18" charset="-127"/>
                      </a:endParaRPr>
                    </a:p>
                  </a:txBody>
                  <a:tcPr marL="103333" marR="103333" marT="51667" marB="51667" anchor="ctr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1033463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ea"/>
                          <a:ea typeface="+mj-ea"/>
                        </a:rPr>
                        <a:t>단위</a:t>
                      </a:r>
                      <a:endParaRPr kumimoji="1" lang="en-US" altLang="ko-KR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103320" marR="10332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1033463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ea"/>
                          <a:ea typeface="+mj-ea"/>
                        </a:rPr>
                        <a:t>사양</a:t>
                      </a:r>
                      <a:r>
                        <a:rPr kumimoji="1" lang="en-US" altLang="ko-KR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ea"/>
                          <a:ea typeface="+mj-ea"/>
                        </a:rPr>
                        <a:t>.</a:t>
                      </a:r>
                    </a:p>
                  </a:txBody>
                  <a:tcPr marL="103320" marR="10332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1033463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ko-KR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HY견고딕" pitchFamily="18" charset="-127"/>
                        <a:ea typeface="HY견고딕" pitchFamily="18" charset="-127"/>
                      </a:endParaRPr>
                    </a:p>
                  </a:txBody>
                  <a:tcPr marL="103333" marR="103333" marT="51667" marB="51667" anchor="ctr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45694">
                <a:tc gridSpan="2" vMerge="1">
                  <a:txBody>
                    <a:bodyPr/>
                    <a:lstStyle/>
                    <a:p>
                      <a:pPr marL="0" marR="0" lvl="0" indent="0" algn="ctr" defTabSz="1033463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ko-KR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HY견고딕" pitchFamily="18" charset="-127"/>
                        <a:ea typeface="HY견고딕" pitchFamily="18" charset="-127"/>
                      </a:endParaRPr>
                    </a:p>
                  </a:txBody>
                  <a:tcPr marL="103333" marR="103333" marT="51667" marB="51667" anchor="ctr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0" marR="0" lvl="0" indent="0" algn="ctr" defTabSz="1033463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ko-KR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HY견고딕" pitchFamily="18" charset="-127"/>
                        <a:ea typeface="HY견고딕" pitchFamily="18" charset="-127"/>
                      </a:endParaRPr>
                    </a:p>
                  </a:txBody>
                  <a:tcPr marL="103333" marR="103333" marT="51667" marB="51667" anchor="ctr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33463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ea"/>
                          <a:ea typeface="+mj-ea"/>
                        </a:rPr>
                        <a:t>1,2</a:t>
                      </a:r>
                      <a:r>
                        <a:rPr kumimoji="1" lang="ko-KR" altLang="en-US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ea"/>
                          <a:ea typeface="+mj-ea"/>
                        </a:rPr>
                        <a:t>기</a:t>
                      </a:r>
                      <a:endParaRPr kumimoji="1" lang="en-US" altLang="ko-KR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103320" marR="10332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33463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ea"/>
                          <a:ea typeface="+mj-ea"/>
                        </a:rPr>
                        <a:t>3</a:t>
                      </a:r>
                      <a:r>
                        <a:rPr kumimoji="1" lang="ko-KR" altLang="en-US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ea"/>
                          <a:ea typeface="+mj-ea"/>
                        </a:rPr>
                        <a:t>기</a:t>
                      </a:r>
                      <a:endParaRPr kumimoji="1" lang="en-US" altLang="ko-KR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103320" marR="10332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45694">
                <a:tc gridSpan="3">
                  <a:txBody>
                    <a:bodyPr/>
                    <a:lstStyle/>
                    <a:p>
                      <a:pPr marL="0" marR="0" lvl="0" indent="0" algn="ctr" defTabSz="1033463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Cooling Type</a:t>
                      </a:r>
                    </a:p>
                  </a:txBody>
                  <a:tcPr marL="103320" marR="10332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ctr" defTabSz="1033463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ko-KR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HY견고딕" pitchFamily="18" charset="-127"/>
                        <a:ea typeface="HY견고딕" pitchFamily="18" charset="-127"/>
                      </a:endParaRPr>
                    </a:p>
                  </a:txBody>
                  <a:tcPr marL="103333" marR="103333" marT="51667" marB="51667" anchor="ctr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1033463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circular pressure</a:t>
                      </a:r>
                    </a:p>
                  </a:txBody>
                  <a:tcPr marL="103320" marR="10332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1033463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ko-KR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HY견고딕" pitchFamily="18" charset="-127"/>
                        <a:ea typeface="HY견고딕" pitchFamily="18" charset="-127"/>
                      </a:endParaRPr>
                    </a:p>
                  </a:txBody>
                  <a:tcPr marL="103333" marR="103333" marT="51667" marB="51667" anchor="ctr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45694">
                <a:tc gridSpan="2">
                  <a:txBody>
                    <a:bodyPr/>
                    <a:lstStyle/>
                    <a:p>
                      <a:pPr marL="0" marR="0" lvl="0" indent="0" algn="ctr" defTabSz="1033463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냉각면적</a:t>
                      </a:r>
                    </a:p>
                  </a:txBody>
                  <a:tcPr marL="103320" marR="10332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1033463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ko-KR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HY견고딕" pitchFamily="18" charset="-127"/>
                        <a:ea typeface="HY견고딕" pitchFamily="18" charset="-127"/>
                      </a:endParaRPr>
                    </a:p>
                  </a:txBody>
                  <a:tcPr marL="103333" marR="103333" marT="51667" marB="51667" anchor="ctr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33463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m²</a:t>
                      </a:r>
                    </a:p>
                  </a:txBody>
                  <a:tcPr marL="103320" marR="10332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33463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430</a:t>
                      </a:r>
                    </a:p>
                  </a:txBody>
                  <a:tcPr marL="103320" marR="10332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33463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588</a:t>
                      </a:r>
                    </a:p>
                  </a:txBody>
                  <a:tcPr marL="103320" marR="10332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45694">
                <a:tc gridSpan="2">
                  <a:txBody>
                    <a:bodyPr/>
                    <a:lstStyle/>
                    <a:p>
                      <a:pPr marL="0" marR="0" lvl="0" indent="0" algn="ctr" defTabSz="1033463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8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Capa</a:t>
                      </a:r>
                      <a:r>
                        <a:rPr kumimoji="1" lang="en-US" altLang="ko-KR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.</a:t>
                      </a:r>
                    </a:p>
                  </a:txBody>
                  <a:tcPr marL="103320" marR="10332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1033463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ko-KR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HY견고딕" pitchFamily="18" charset="-127"/>
                        <a:ea typeface="HY견고딕" pitchFamily="18" charset="-127"/>
                      </a:endParaRPr>
                    </a:p>
                  </a:txBody>
                  <a:tcPr marL="103333" marR="103333" marT="51667" marB="51667" anchor="ctr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33463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t/h</a:t>
                      </a:r>
                    </a:p>
                  </a:txBody>
                  <a:tcPr marL="103320" marR="10332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33463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1,350</a:t>
                      </a:r>
                    </a:p>
                  </a:txBody>
                  <a:tcPr marL="103320" marR="10332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33463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1,550</a:t>
                      </a:r>
                    </a:p>
                  </a:txBody>
                  <a:tcPr marL="103320" marR="10332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45694">
                <a:tc gridSpan="2">
                  <a:txBody>
                    <a:bodyPr/>
                    <a:lstStyle/>
                    <a:p>
                      <a:pPr marL="0" marR="0" lvl="0" indent="0" algn="ctr" defTabSz="1033463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대차</a:t>
                      </a:r>
                    </a:p>
                  </a:txBody>
                  <a:tcPr marL="103320" marR="10332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1033463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EA</a:t>
                      </a:r>
                    </a:p>
                  </a:txBody>
                  <a:tcPr marL="103320" marR="10332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33463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45</a:t>
                      </a:r>
                    </a:p>
                  </a:txBody>
                  <a:tcPr marL="103320" marR="10332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33463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60</a:t>
                      </a:r>
                    </a:p>
                  </a:txBody>
                  <a:tcPr marL="103320" marR="10332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45694">
                <a:tc gridSpan="2">
                  <a:txBody>
                    <a:bodyPr/>
                    <a:lstStyle/>
                    <a:p>
                      <a:pPr marL="0" marR="0" lvl="0" indent="0" algn="ctr" defTabSz="1033463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냉각 시간</a:t>
                      </a:r>
                    </a:p>
                  </a:txBody>
                  <a:tcPr marL="103320" marR="10332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1033463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ko-KR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HY견고딕" pitchFamily="18" charset="-127"/>
                        <a:ea typeface="HY견고딕" pitchFamily="18" charset="-127"/>
                      </a:endParaRPr>
                    </a:p>
                  </a:txBody>
                  <a:tcPr marL="103333" marR="103333" marT="51667" marB="51667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33463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min</a:t>
                      </a:r>
                    </a:p>
                  </a:txBody>
                  <a:tcPr marL="103320" marR="10332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33463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90</a:t>
                      </a:r>
                    </a:p>
                  </a:txBody>
                  <a:tcPr marL="103320" marR="10332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33463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90</a:t>
                      </a:r>
                    </a:p>
                  </a:txBody>
                  <a:tcPr marL="103320" marR="10332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91387">
                <a:tc rowSpan="4">
                  <a:txBody>
                    <a:bodyPr/>
                    <a:lstStyle/>
                    <a:p>
                      <a:pPr marL="0" marR="0" lvl="0" indent="0" algn="ctr" defTabSz="1033463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Cooling </a:t>
                      </a:r>
                    </a:p>
                    <a:p>
                      <a:pPr marL="0" marR="0" lvl="0" indent="0" algn="ctr" defTabSz="1033463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Fan</a:t>
                      </a:r>
                      <a:endParaRPr kumimoji="1" lang="ko-KR" alt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103320" marR="10332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1033463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Type</a:t>
                      </a:r>
                      <a:endParaRPr kumimoji="1" lang="ko-KR" alt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103320" marR="10332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1033463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HY견고딕" pitchFamily="18" charset="-127"/>
                        <a:ea typeface="HY견고딕" pitchFamily="18" charset="-127"/>
                      </a:endParaRPr>
                    </a:p>
                  </a:txBody>
                  <a:tcPr marL="103333" marR="103333" marT="51667" marB="51667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33463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Axial</a:t>
                      </a:r>
                    </a:p>
                  </a:txBody>
                  <a:tcPr marL="103320" marR="10332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33463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Centrifugal</a:t>
                      </a:r>
                    </a:p>
                  </a:txBody>
                  <a:tcPr marL="103320" marR="10332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45694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1033463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수량</a:t>
                      </a:r>
                      <a:endParaRPr kumimoji="1" lang="en-US" altLang="ko-KR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103320" marR="10332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33463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대</a:t>
                      </a:r>
                    </a:p>
                  </a:txBody>
                  <a:tcPr marL="103320" marR="10332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33463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2</a:t>
                      </a:r>
                    </a:p>
                  </a:txBody>
                  <a:tcPr marL="103320" marR="10332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33463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3</a:t>
                      </a:r>
                    </a:p>
                  </a:txBody>
                  <a:tcPr marL="103320" marR="10332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91387">
                <a:tc vMerge="1">
                  <a:txBody>
                    <a:bodyPr/>
                    <a:lstStyle/>
                    <a:p>
                      <a:pPr marL="0" marR="0" lvl="0" indent="0" algn="ctr" defTabSz="1033463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HY견고딕" pitchFamily="18" charset="-127"/>
                        <a:ea typeface="HY견고딕" pitchFamily="18" charset="-127"/>
                      </a:endParaRPr>
                    </a:p>
                  </a:txBody>
                  <a:tcPr marL="103333" marR="103333" marT="51667" marB="51667" anchor="ctr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33463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용량</a:t>
                      </a:r>
                      <a:endParaRPr kumimoji="1" lang="en-US" altLang="ko-KR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103320" marR="10332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33463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m3/min</a:t>
                      </a:r>
                      <a:endParaRPr kumimoji="1" lang="ko-KR" alt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103320" marR="10332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33463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23,000</a:t>
                      </a:r>
                    </a:p>
                  </a:txBody>
                  <a:tcPr marL="103320" marR="10332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33463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26,500</a:t>
                      </a:r>
                    </a:p>
                  </a:txBody>
                  <a:tcPr marL="103320" marR="10332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45694">
                <a:tc vMerge="1">
                  <a:txBody>
                    <a:bodyPr/>
                    <a:lstStyle/>
                    <a:p>
                      <a:pPr marL="0" marR="0" lvl="0" indent="0" algn="ctr" defTabSz="1033463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HY견고딕" pitchFamily="18" charset="-127"/>
                        <a:ea typeface="HY견고딕" pitchFamily="18" charset="-127"/>
                      </a:endParaRPr>
                    </a:p>
                  </a:txBody>
                  <a:tcPr marL="103333" marR="103333" marT="51667" marB="51667" anchor="ctr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33463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모터</a:t>
                      </a:r>
                    </a:p>
                  </a:txBody>
                  <a:tcPr marL="103320" marR="10332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33463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kW</a:t>
                      </a:r>
                      <a:endParaRPr kumimoji="1" lang="ko-KR" alt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103320" marR="10332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33463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2,100</a:t>
                      </a:r>
                    </a:p>
                  </a:txBody>
                  <a:tcPr marL="103320" marR="10332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33463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3,000</a:t>
                      </a:r>
                    </a:p>
                  </a:txBody>
                  <a:tcPr marL="103320" marR="10332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</a:tbl>
          </a:graphicData>
        </a:graphic>
      </p:graphicFrame>
      <p:pic>
        <p:nvPicPr>
          <p:cNvPr id="12" name="Picture 71" descr="Cooler-2">
            <a:extLst>
              <a:ext uri="{FF2B5EF4-FFF2-40B4-BE49-F238E27FC236}">
                <a16:creationId xmlns:a16="http://schemas.microsoft.com/office/drawing/2014/main" id="{F1ED6D0E-8BE5-915E-321D-FC7EC7878ED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061" r="12653" b="7887"/>
          <a:stretch>
            <a:fillRect/>
          </a:stretch>
        </p:blipFill>
        <p:spPr bwMode="auto">
          <a:xfrm>
            <a:off x="4082329" y="2520227"/>
            <a:ext cx="2094807" cy="15006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4" name="그룹 13">
            <a:extLst>
              <a:ext uri="{FF2B5EF4-FFF2-40B4-BE49-F238E27FC236}">
                <a16:creationId xmlns:a16="http://schemas.microsoft.com/office/drawing/2014/main" id="{DAFD636E-E450-7A79-6482-13A0C2E4B8F9}"/>
              </a:ext>
            </a:extLst>
          </p:cNvPr>
          <p:cNvGrpSpPr/>
          <p:nvPr/>
        </p:nvGrpSpPr>
        <p:grpSpPr>
          <a:xfrm>
            <a:off x="1765793" y="2525586"/>
            <a:ext cx="2107086" cy="1495268"/>
            <a:chOff x="1693786" y="2771954"/>
            <a:chExt cx="2665412" cy="2014538"/>
          </a:xfrm>
        </p:grpSpPr>
        <p:pic>
          <p:nvPicPr>
            <p:cNvPr id="11" name="Picture 55" descr="사진 047">
              <a:extLst>
                <a:ext uri="{FF2B5EF4-FFF2-40B4-BE49-F238E27FC236}">
                  <a16:creationId xmlns:a16="http://schemas.microsoft.com/office/drawing/2014/main" id="{1642777F-14F5-5E03-3BD0-5903C9B37859}"/>
                </a:ext>
              </a:extLst>
            </p:cNvPr>
            <p:cNvPicPr preferRelativeResize="0">
              <a:picLocks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693786" y="2771954"/>
              <a:ext cx="2665412" cy="20145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3" name="Rectangle 37">
              <a:extLst>
                <a:ext uri="{FF2B5EF4-FFF2-40B4-BE49-F238E27FC236}">
                  <a16:creationId xmlns:a16="http://schemas.microsoft.com/office/drawing/2014/main" id="{EDB157A1-E483-4D65-E041-5E9D78A27B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12668" y="4530308"/>
              <a:ext cx="493176" cy="22002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25400" algn="ctr">
                  <a:solidFill>
                    <a:srgbClr val="FFFF99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square" lIns="18000" tIns="18000" rIns="18000" bIns="18000" anchor="ctr">
              <a:spAutoFit/>
            </a:bodyPr>
            <a:lstStyle>
              <a:lvl1pPr defTabSz="957263" eaLnBrk="0" hangingPunct="0">
                <a:defRPr kumimoji="1" sz="1300">
                  <a:solidFill>
                    <a:schemeClr val="tx1"/>
                  </a:solidFill>
                  <a:latin typeface="HY견고딕" panose="02030600000101010101" pitchFamily="18" charset="-127"/>
                  <a:ea typeface="HY견고딕" panose="02030600000101010101" pitchFamily="18" charset="-127"/>
                </a:defRPr>
              </a:lvl1pPr>
              <a:lvl2pPr marL="742950" indent="-285750" defTabSz="957263" eaLnBrk="0" hangingPunct="0">
                <a:defRPr kumimoji="1" sz="1300">
                  <a:solidFill>
                    <a:schemeClr val="tx1"/>
                  </a:solidFill>
                  <a:latin typeface="HY견고딕" panose="02030600000101010101" pitchFamily="18" charset="-127"/>
                  <a:ea typeface="HY견고딕" panose="02030600000101010101" pitchFamily="18" charset="-127"/>
                </a:defRPr>
              </a:lvl2pPr>
              <a:lvl3pPr marL="1143000" indent="-228600" defTabSz="957263" eaLnBrk="0" hangingPunct="0">
                <a:defRPr kumimoji="1" sz="1300">
                  <a:solidFill>
                    <a:schemeClr val="tx1"/>
                  </a:solidFill>
                  <a:latin typeface="HY견고딕" panose="02030600000101010101" pitchFamily="18" charset="-127"/>
                  <a:ea typeface="HY견고딕" panose="02030600000101010101" pitchFamily="18" charset="-127"/>
                </a:defRPr>
              </a:lvl3pPr>
              <a:lvl4pPr marL="1600200" indent="-228600" defTabSz="957263" eaLnBrk="0" hangingPunct="0">
                <a:defRPr kumimoji="1" sz="1300">
                  <a:solidFill>
                    <a:schemeClr val="tx1"/>
                  </a:solidFill>
                  <a:latin typeface="HY견고딕" panose="02030600000101010101" pitchFamily="18" charset="-127"/>
                  <a:ea typeface="HY견고딕" panose="02030600000101010101" pitchFamily="18" charset="-127"/>
                </a:defRPr>
              </a:lvl4pPr>
              <a:lvl5pPr marL="2057400" indent="-228600" defTabSz="957263" eaLnBrk="0" hangingPunct="0">
                <a:defRPr kumimoji="1" sz="1300">
                  <a:solidFill>
                    <a:schemeClr val="tx1"/>
                  </a:solidFill>
                  <a:latin typeface="HY견고딕" panose="02030600000101010101" pitchFamily="18" charset="-127"/>
                  <a:ea typeface="HY견고딕" panose="02030600000101010101" pitchFamily="18" charset="-127"/>
                </a:defRPr>
              </a:lvl5pPr>
              <a:lvl6pPr marL="2514600" indent="-228600" algn="ctr" defTabSz="957263" eaLnBrk="0" fontAlgn="base" hangingPunct="0">
                <a:lnSpc>
                  <a:spcPct val="140000"/>
                </a:lnSpc>
                <a:spcBef>
                  <a:spcPct val="30000"/>
                </a:spcBef>
                <a:spcAft>
                  <a:spcPct val="30000"/>
                </a:spcAft>
                <a:buClr>
                  <a:srgbClr val="333399"/>
                </a:buClr>
                <a:buFont typeface="Wingdings" panose="05000000000000000000" pitchFamily="2" charset="2"/>
                <a:defRPr kumimoji="1" sz="1300">
                  <a:solidFill>
                    <a:schemeClr val="tx1"/>
                  </a:solidFill>
                  <a:latin typeface="HY견고딕" panose="02030600000101010101" pitchFamily="18" charset="-127"/>
                  <a:ea typeface="HY견고딕" panose="02030600000101010101" pitchFamily="18" charset="-127"/>
                </a:defRPr>
              </a:lvl6pPr>
              <a:lvl7pPr marL="2971800" indent="-228600" algn="ctr" defTabSz="957263" eaLnBrk="0" fontAlgn="base" hangingPunct="0">
                <a:lnSpc>
                  <a:spcPct val="140000"/>
                </a:lnSpc>
                <a:spcBef>
                  <a:spcPct val="30000"/>
                </a:spcBef>
                <a:spcAft>
                  <a:spcPct val="30000"/>
                </a:spcAft>
                <a:buClr>
                  <a:srgbClr val="333399"/>
                </a:buClr>
                <a:buFont typeface="Wingdings" panose="05000000000000000000" pitchFamily="2" charset="2"/>
                <a:defRPr kumimoji="1" sz="1300">
                  <a:solidFill>
                    <a:schemeClr val="tx1"/>
                  </a:solidFill>
                  <a:latin typeface="HY견고딕" panose="02030600000101010101" pitchFamily="18" charset="-127"/>
                  <a:ea typeface="HY견고딕" panose="02030600000101010101" pitchFamily="18" charset="-127"/>
                </a:defRPr>
              </a:lvl7pPr>
              <a:lvl8pPr marL="3429000" indent="-228600" algn="ctr" defTabSz="957263" eaLnBrk="0" fontAlgn="base" hangingPunct="0">
                <a:lnSpc>
                  <a:spcPct val="140000"/>
                </a:lnSpc>
                <a:spcBef>
                  <a:spcPct val="30000"/>
                </a:spcBef>
                <a:spcAft>
                  <a:spcPct val="30000"/>
                </a:spcAft>
                <a:buClr>
                  <a:srgbClr val="333399"/>
                </a:buClr>
                <a:buFont typeface="Wingdings" panose="05000000000000000000" pitchFamily="2" charset="2"/>
                <a:defRPr kumimoji="1" sz="1300">
                  <a:solidFill>
                    <a:schemeClr val="tx1"/>
                  </a:solidFill>
                  <a:latin typeface="HY견고딕" panose="02030600000101010101" pitchFamily="18" charset="-127"/>
                  <a:ea typeface="HY견고딕" panose="02030600000101010101" pitchFamily="18" charset="-127"/>
                </a:defRPr>
              </a:lvl8pPr>
              <a:lvl9pPr marL="3886200" indent="-228600" algn="ctr" defTabSz="957263" eaLnBrk="0" fontAlgn="base" hangingPunct="0">
                <a:lnSpc>
                  <a:spcPct val="140000"/>
                </a:lnSpc>
                <a:spcBef>
                  <a:spcPct val="30000"/>
                </a:spcBef>
                <a:spcAft>
                  <a:spcPct val="30000"/>
                </a:spcAft>
                <a:buClr>
                  <a:srgbClr val="333399"/>
                </a:buClr>
                <a:buFont typeface="Wingdings" panose="05000000000000000000" pitchFamily="2" charset="2"/>
                <a:defRPr kumimoji="1" sz="1300">
                  <a:solidFill>
                    <a:schemeClr val="tx1"/>
                  </a:solidFill>
                  <a:latin typeface="HY견고딕" panose="02030600000101010101" pitchFamily="18" charset="-127"/>
                  <a:ea typeface="HY견고딕" panose="02030600000101010101" pitchFamily="18" charset="-127"/>
                </a:defRPr>
              </a:lvl9pPr>
            </a:lstStyle>
            <a:p>
              <a:pPr algn="ctr" eaLnBrk="1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FontTx/>
                <a:buNone/>
              </a:pPr>
              <a:r>
                <a:rPr lang="en-US" altLang="ko-KR" sz="800" dirty="0">
                  <a:latin typeface="현대하모니 L" panose="02020603020101020101" pitchFamily="18" charset="-127"/>
                  <a:ea typeface="현대하모니 L" panose="02020603020101020101" pitchFamily="18" charset="-127"/>
                </a:rPr>
                <a:t>Cooler</a:t>
              </a:r>
              <a:endParaRPr lang="ko-KR" altLang="en-US" sz="800" dirty="0">
                <a:latin typeface="현대하모니 L" panose="02020603020101020101" pitchFamily="18" charset="-127"/>
                <a:ea typeface="현대하모니 L" panose="02020603020101020101" pitchFamily="18" charset="-127"/>
              </a:endParaRPr>
            </a:p>
          </p:txBody>
        </p:sp>
      </p:grpSp>
      <p:pic>
        <p:nvPicPr>
          <p:cNvPr id="16" name="Picture 3">
            <a:extLst>
              <a:ext uri="{FF2B5EF4-FFF2-40B4-BE49-F238E27FC236}">
                <a16:creationId xmlns:a16="http://schemas.microsoft.com/office/drawing/2014/main" id="{A0209C67-93E5-09E8-FA97-ECA50A58D662}"/>
              </a:ext>
            </a:extLst>
          </p:cNvPr>
          <p:cNvPicPr preferRelativeResize="0">
            <a:picLocks noChangeArrowheads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6625"/>
          <a:stretch/>
        </p:blipFill>
        <p:spPr bwMode="auto">
          <a:xfrm rot="16200000">
            <a:off x="4340575" y="4598118"/>
            <a:ext cx="1800912" cy="15841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Text Box 206">
            <a:extLst>
              <a:ext uri="{FF2B5EF4-FFF2-40B4-BE49-F238E27FC236}">
                <a16:creationId xmlns:a16="http://schemas.microsoft.com/office/drawing/2014/main" id="{3B31E52C-025D-A7BE-302A-1F974DF5ACE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495723" y="4181638"/>
            <a:ext cx="5029200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 kumimoji="1" sz="1300">
                <a:solidFill>
                  <a:schemeClr val="tx1"/>
                </a:solidFill>
                <a:latin typeface="HY견고딕" panose="02030600000101010101" pitchFamily="18" charset="-127"/>
                <a:ea typeface="HY견고딕" panose="02030600000101010101" pitchFamily="18" charset="-127"/>
              </a:defRPr>
            </a:lvl1pPr>
            <a:lvl2pPr marL="742950" indent="-285750" eaLnBrk="0" hangingPunct="0">
              <a:defRPr kumimoji="1" sz="1300">
                <a:solidFill>
                  <a:schemeClr val="tx1"/>
                </a:solidFill>
                <a:latin typeface="HY견고딕" panose="02030600000101010101" pitchFamily="18" charset="-127"/>
                <a:ea typeface="HY견고딕" panose="02030600000101010101" pitchFamily="18" charset="-127"/>
              </a:defRPr>
            </a:lvl2pPr>
            <a:lvl3pPr marL="1143000" indent="-228600" eaLnBrk="0" hangingPunct="0">
              <a:defRPr kumimoji="1" sz="1300">
                <a:solidFill>
                  <a:schemeClr val="tx1"/>
                </a:solidFill>
                <a:latin typeface="HY견고딕" panose="02030600000101010101" pitchFamily="18" charset="-127"/>
                <a:ea typeface="HY견고딕" panose="02030600000101010101" pitchFamily="18" charset="-127"/>
              </a:defRPr>
            </a:lvl3pPr>
            <a:lvl4pPr marL="1600200" indent="-228600" eaLnBrk="0" hangingPunct="0">
              <a:defRPr kumimoji="1" sz="1300">
                <a:solidFill>
                  <a:schemeClr val="tx1"/>
                </a:solidFill>
                <a:latin typeface="HY견고딕" panose="02030600000101010101" pitchFamily="18" charset="-127"/>
                <a:ea typeface="HY견고딕" panose="02030600000101010101" pitchFamily="18" charset="-127"/>
              </a:defRPr>
            </a:lvl4pPr>
            <a:lvl5pPr marL="2057400" indent="-228600" eaLnBrk="0" hangingPunct="0">
              <a:defRPr kumimoji="1" sz="1300">
                <a:solidFill>
                  <a:schemeClr val="tx1"/>
                </a:solidFill>
                <a:latin typeface="HY견고딕" panose="02030600000101010101" pitchFamily="18" charset="-127"/>
                <a:ea typeface="HY견고딕" panose="02030600000101010101" pitchFamily="18" charset="-127"/>
              </a:defRPr>
            </a:lvl5pPr>
            <a:lvl6pPr marL="2514600" indent="-228600" algn="ctr" eaLnBrk="0" fontAlgn="base" hangingPunct="0">
              <a:lnSpc>
                <a:spcPct val="140000"/>
              </a:lnSpc>
              <a:spcBef>
                <a:spcPct val="30000"/>
              </a:spcBef>
              <a:spcAft>
                <a:spcPct val="30000"/>
              </a:spcAft>
              <a:buClr>
                <a:srgbClr val="333399"/>
              </a:buClr>
              <a:buFont typeface="Wingdings" panose="05000000000000000000" pitchFamily="2" charset="2"/>
              <a:defRPr kumimoji="1" sz="1300">
                <a:solidFill>
                  <a:schemeClr val="tx1"/>
                </a:solidFill>
                <a:latin typeface="HY견고딕" panose="02030600000101010101" pitchFamily="18" charset="-127"/>
                <a:ea typeface="HY견고딕" panose="02030600000101010101" pitchFamily="18" charset="-127"/>
              </a:defRPr>
            </a:lvl6pPr>
            <a:lvl7pPr marL="2971800" indent="-228600" algn="ctr" eaLnBrk="0" fontAlgn="base" hangingPunct="0">
              <a:lnSpc>
                <a:spcPct val="140000"/>
              </a:lnSpc>
              <a:spcBef>
                <a:spcPct val="30000"/>
              </a:spcBef>
              <a:spcAft>
                <a:spcPct val="30000"/>
              </a:spcAft>
              <a:buClr>
                <a:srgbClr val="333399"/>
              </a:buClr>
              <a:buFont typeface="Wingdings" panose="05000000000000000000" pitchFamily="2" charset="2"/>
              <a:defRPr kumimoji="1" sz="1300">
                <a:solidFill>
                  <a:schemeClr val="tx1"/>
                </a:solidFill>
                <a:latin typeface="HY견고딕" panose="02030600000101010101" pitchFamily="18" charset="-127"/>
                <a:ea typeface="HY견고딕" panose="02030600000101010101" pitchFamily="18" charset="-127"/>
              </a:defRPr>
            </a:lvl7pPr>
            <a:lvl8pPr marL="3429000" indent="-228600" algn="ctr" eaLnBrk="0" fontAlgn="base" hangingPunct="0">
              <a:lnSpc>
                <a:spcPct val="140000"/>
              </a:lnSpc>
              <a:spcBef>
                <a:spcPct val="30000"/>
              </a:spcBef>
              <a:spcAft>
                <a:spcPct val="30000"/>
              </a:spcAft>
              <a:buClr>
                <a:srgbClr val="333399"/>
              </a:buClr>
              <a:buFont typeface="Wingdings" panose="05000000000000000000" pitchFamily="2" charset="2"/>
              <a:defRPr kumimoji="1" sz="1300">
                <a:solidFill>
                  <a:schemeClr val="tx1"/>
                </a:solidFill>
                <a:latin typeface="HY견고딕" panose="02030600000101010101" pitchFamily="18" charset="-127"/>
                <a:ea typeface="HY견고딕" panose="02030600000101010101" pitchFamily="18" charset="-127"/>
              </a:defRPr>
            </a:lvl8pPr>
            <a:lvl9pPr marL="3886200" indent="-228600" algn="ctr" eaLnBrk="0" fontAlgn="base" hangingPunct="0">
              <a:lnSpc>
                <a:spcPct val="140000"/>
              </a:lnSpc>
              <a:spcBef>
                <a:spcPct val="30000"/>
              </a:spcBef>
              <a:spcAft>
                <a:spcPct val="30000"/>
              </a:spcAft>
              <a:buClr>
                <a:srgbClr val="333399"/>
              </a:buClr>
              <a:buFont typeface="Wingdings" panose="05000000000000000000" pitchFamily="2" charset="2"/>
              <a:defRPr kumimoji="1" sz="1300">
                <a:solidFill>
                  <a:schemeClr val="tx1"/>
                </a:solidFill>
                <a:latin typeface="HY견고딕" panose="02030600000101010101" pitchFamily="18" charset="-127"/>
                <a:ea typeface="HY견고딕" panose="02030600000101010101" pitchFamily="18" charset="-127"/>
              </a:defRPr>
            </a:lvl9pPr>
          </a:lstStyle>
          <a:p>
            <a:pPr eaLnBrk="1" fontAlgn="base" hangingPunct="1">
              <a:spcBef>
                <a:spcPct val="50000"/>
              </a:spcBef>
              <a:spcAft>
                <a:spcPct val="0"/>
              </a:spcAft>
            </a:pPr>
            <a:r>
              <a:rPr lang="en-US" altLang="en-US" sz="1400" b="1" dirty="0">
                <a:solidFill>
                  <a:srgbClr val="000000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sym typeface="Wingdings 2" panose="05020102010507070707" pitchFamily="18" charset="2"/>
              </a:rPr>
              <a:t>○</a:t>
            </a:r>
            <a:r>
              <a:rPr lang="en-US" altLang="ko-KR" sz="1400" b="1" dirty="0">
                <a:solidFill>
                  <a:srgbClr val="000000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sym typeface="Wingdings 2" panose="05020102010507070707" pitchFamily="18" charset="2"/>
              </a:rPr>
              <a:t> 1,2</a:t>
            </a:r>
            <a:r>
              <a:rPr lang="ko-KR" altLang="en-US" sz="1400" b="1" dirty="0">
                <a:solidFill>
                  <a:srgbClr val="000000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sym typeface="Wingdings 2" panose="05020102010507070707" pitchFamily="18" charset="2"/>
              </a:rPr>
              <a:t>소결 </a:t>
            </a:r>
            <a:r>
              <a:rPr lang="en-US" altLang="ko-KR" sz="1400" b="1" dirty="0">
                <a:solidFill>
                  <a:srgbClr val="000000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Cooler Fan </a:t>
            </a:r>
            <a:r>
              <a:rPr lang="ko-KR" altLang="en-US" sz="1400" b="1" dirty="0">
                <a:solidFill>
                  <a:srgbClr val="000000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및 </a:t>
            </a:r>
            <a:r>
              <a:rPr lang="en-US" altLang="ko-KR" sz="1400" b="1" dirty="0">
                <a:solidFill>
                  <a:srgbClr val="000000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Blade</a:t>
            </a:r>
            <a:endParaRPr lang="ko-KR" altLang="en-US" sz="1400" b="1" dirty="0">
              <a:solidFill>
                <a:srgbClr val="000000"/>
              </a:solidFill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</p:txBody>
      </p:sp>
      <p:pic>
        <p:nvPicPr>
          <p:cNvPr id="20" name="그림 19">
            <a:extLst>
              <a:ext uri="{FF2B5EF4-FFF2-40B4-BE49-F238E27FC236}">
                <a16:creationId xmlns:a16="http://schemas.microsoft.com/office/drawing/2014/main" id="{8C732F2B-55C8-BE3F-BA7C-2AB54F2B623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765793" y="4543040"/>
            <a:ext cx="2576736" cy="1747622"/>
          </a:xfrm>
          <a:prstGeom prst="rect">
            <a:avLst/>
          </a:prstGeom>
        </p:spPr>
      </p:pic>
      <p:pic>
        <p:nvPicPr>
          <p:cNvPr id="23" name="그림 22">
            <a:extLst>
              <a:ext uri="{FF2B5EF4-FFF2-40B4-BE49-F238E27FC236}">
                <a16:creationId xmlns:a16="http://schemas.microsoft.com/office/drawing/2014/main" id="{6F2DF2E6-3A4B-F908-3AB6-67FDA15A6B1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330315" y="4489414"/>
            <a:ext cx="1440160" cy="1801247"/>
          </a:xfrm>
          <a:prstGeom prst="rect">
            <a:avLst/>
          </a:prstGeom>
        </p:spPr>
      </p:pic>
      <p:pic>
        <p:nvPicPr>
          <p:cNvPr id="25" name="그림 24">
            <a:extLst>
              <a:ext uri="{FF2B5EF4-FFF2-40B4-BE49-F238E27FC236}">
                <a16:creationId xmlns:a16="http://schemas.microsoft.com/office/drawing/2014/main" id="{AFC0E287-110A-49D8-F5FC-B71E4BE1584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833320" y="4489414"/>
            <a:ext cx="1440160" cy="1800913"/>
          </a:xfrm>
          <a:prstGeom prst="rect">
            <a:avLst/>
          </a:prstGeom>
        </p:spPr>
      </p:pic>
      <p:sp>
        <p:nvSpPr>
          <p:cNvPr id="26" name="직사각형 25">
            <a:extLst>
              <a:ext uri="{FF2B5EF4-FFF2-40B4-BE49-F238E27FC236}">
                <a16:creationId xmlns:a16="http://schemas.microsoft.com/office/drawing/2014/main" id="{C99FF082-993D-F9DB-B4F5-993B2EF9A2E3}"/>
              </a:ext>
            </a:extLst>
          </p:cNvPr>
          <p:cNvSpPr/>
          <p:nvPr/>
        </p:nvSpPr>
        <p:spPr>
          <a:xfrm>
            <a:off x="2752813" y="6018999"/>
            <a:ext cx="602695" cy="271328"/>
          </a:xfrm>
          <a:prstGeom prst="rect">
            <a:avLst/>
          </a:prstGeom>
          <a:solidFill>
            <a:schemeClr val="bg1"/>
          </a:solidFill>
          <a:ln w="15875">
            <a:solidFill>
              <a:schemeClr val="accent1">
                <a:shade val="1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200" dirty="0" err="1">
                <a:solidFill>
                  <a:schemeClr val="tx1"/>
                </a:solidFill>
                <a:effectLst>
                  <a:glow rad="127000">
                    <a:schemeClr val="bg1"/>
                  </a:glow>
                </a:effectLst>
                <a:latin typeface="현대하모니 L" panose="02020603020101020101" pitchFamily="18" charset="-127"/>
                <a:ea typeface="현대하모니 L" panose="02020603020101020101" pitchFamily="18" charset="-127"/>
              </a:rPr>
              <a:t>쿨러팬</a:t>
            </a:r>
            <a:endParaRPr lang="ko-KR" altLang="en-US" sz="1200" dirty="0">
              <a:solidFill>
                <a:schemeClr val="tx1"/>
              </a:solidFill>
              <a:effectLst>
                <a:glow rad="127000">
                  <a:schemeClr val="bg1"/>
                </a:glow>
              </a:effectLst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</p:txBody>
      </p:sp>
      <p:sp>
        <p:nvSpPr>
          <p:cNvPr id="27" name="직사각형 26">
            <a:extLst>
              <a:ext uri="{FF2B5EF4-FFF2-40B4-BE49-F238E27FC236}">
                <a16:creationId xmlns:a16="http://schemas.microsoft.com/office/drawing/2014/main" id="{67E92BED-FAD4-DE45-A1CD-5F8EF12506C2}"/>
              </a:ext>
            </a:extLst>
          </p:cNvPr>
          <p:cNvSpPr/>
          <p:nvPr/>
        </p:nvSpPr>
        <p:spPr>
          <a:xfrm>
            <a:off x="4683822" y="6018999"/>
            <a:ext cx="1152128" cy="271328"/>
          </a:xfrm>
          <a:prstGeom prst="rect">
            <a:avLst/>
          </a:prstGeom>
          <a:solidFill>
            <a:schemeClr val="bg1"/>
          </a:solidFill>
          <a:ln w="15875">
            <a:solidFill>
              <a:schemeClr val="accent1">
                <a:shade val="1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200" dirty="0">
                <a:solidFill>
                  <a:schemeClr val="tx1"/>
                </a:solidFill>
                <a:effectLst>
                  <a:glow rad="127000">
                    <a:schemeClr val="bg1"/>
                  </a:glow>
                </a:effectLst>
                <a:latin typeface="현대하모니 L" panose="02020603020101020101" pitchFamily="18" charset="-127"/>
                <a:ea typeface="현대하모니 L" panose="02020603020101020101" pitchFamily="18" charset="-127"/>
              </a:rPr>
              <a:t>블레이드</a:t>
            </a:r>
            <a:r>
              <a:rPr lang="en-US" altLang="ko-KR" sz="1200" dirty="0">
                <a:solidFill>
                  <a:schemeClr val="tx1"/>
                </a:solidFill>
                <a:effectLst>
                  <a:glow rad="127000">
                    <a:schemeClr val="bg1"/>
                  </a:glow>
                </a:effectLst>
                <a:latin typeface="현대하모니 L" panose="02020603020101020101" pitchFamily="18" charset="-127"/>
                <a:ea typeface="현대하모니 L" panose="02020603020101020101" pitchFamily="18" charset="-127"/>
              </a:rPr>
              <a:t>(</a:t>
            </a:r>
            <a:r>
              <a:rPr lang="ko-KR" altLang="en-US" sz="1200" dirty="0">
                <a:solidFill>
                  <a:schemeClr val="tx1"/>
                </a:solidFill>
                <a:effectLst>
                  <a:glow rad="127000">
                    <a:schemeClr val="bg1"/>
                  </a:glow>
                </a:effectLst>
                <a:latin typeface="현대하모니 L" panose="02020603020101020101" pitchFamily="18" charset="-127"/>
                <a:ea typeface="현대하모니 L" panose="02020603020101020101" pitchFamily="18" charset="-127"/>
              </a:rPr>
              <a:t>도면</a:t>
            </a:r>
            <a:r>
              <a:rPr lang="en-US" altLang="ko-KR" sz="1200" dirty="0">
                <a:solidFill>
                  <a:schemeClr val="tx1"/>
                </a:solidFill>
                <a:effectLst>
                  <a:glow rad="127000">
                    <a:schemeClr val="bg1"/>
                  </a:glow>
                </a:effectLst>
                <a:latin typeface="현대하모니 L" panose="02020603020101020101" pitchFamily="18" charset="-127"/>
                <a:ea typeface="현대하모니 L" panose="02020603020101020101" pitchFamily="18" charset="-127"/>
              </a:rPr>
              <a:t>)</a:t>
            </a:r>
            <a:endParaRPr lang="ko-KR" altLang="en-US" sz="1200" dirty="0">
              <a:solidFill>
                <a:schemeClr val="tx1"/>
              </a:solidFill>
              <a:effectLst>
                <a:glow rad="127000">
                  <a:schemeClr val="bg1"/>
                </a:glow>
              </a:effectLst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</p:txBody>
      </p:sp>
      <p:sp>
        <p:nvSpPr>
          <p:cNvPr id="28" name="직사각형 27">
            <a:extLst>
              <a:ext uri="{FF2B5EF4-FFF2-40B4-BE49-F238E27FC236}">
                <a16:creationId xmlns:a16="http://schemas.microsoft.com/office/drawing/2014/main" id="{562F9AFB-5AF2-C43A-BE44-ABC2251131DE}"/>
              </a:ext>
            </a:extLst>
          </p:cNvPr>
          <p:cNvSpPr/>
          <p:nvPr/>
        </p:nvSpPr>
        <p:spPr>
          <a:xfrm>
            <a:off x="7228975" y="6018999"/>
            <a:ext cx="1152128" cy="271328"/>
          </a:xfrm>
          <a:prstGeom prst="rect">
            <a:avLst/>
          </a:prstGeom>
          <a:solidFill>
            <a:schemeClr val="bg1"/>
          </a:solidFill>
          <a:ln w="15875">
            <a:solidFill>
              <a:schemeClr val="accent1">
                <a:shade val="1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200" dirty="0">
                <a:solidFill>
                  <a:schemeClr val="tx1"/>
                </a:solidFill>
                <a:effectLst>
                  <a:glow rad="127000">
                    <a:schemeClr val="bg1"/>
                  </a:glow>
                </a:effectLst>
                <a:latin typeface="현대하모니 L" panose="02020603020101020101" pitchFamily="18" charset="-127"/>
                <a:ea typeface="현대하모니 L" panose="02020603020101020101" pitchFamily="18" charset="-127"/>
              </a:rPr>
              <a:t>블레이드</a:t>
            </a:r>
            <a:r>
              <a:rPr lang="en-US" altLang="ko-KR" sz="1200" dirty="0">
                <a:solidFill>
                  <a:schemeClr val="tx1"/>
                </a:solidFill>
                <a:effectLst>
                  <a:glow rad="127000">
                    <a:schemeClr val="bg1"/>
                  </a:glow>
                </a:effectLst>
                <a:latin typeface="현대하모니 L" panose="02020603020101020101" pitchFamily="18" charset="-127"/>
                <a:ea typeface="현대하모니 L" panose="02020603020101020101" pitchFamily="18" charset="-127"/>
              </a:rPr>
              <a:t>(</a:t>
            </a:r>
            <a:r>
              <a:rPr lang="ko-KR" altLang="en-US" sz="1200" dirty="0">
                <a:solidFill>
                  <a:schemeClr val="tx1"/>
                </a:solidFill>
                <a:effectLst>
                  <a:glow rad="127000">
                    <a:schemeClr val="bg1"/>
                  </a:glow>
                </a:effectLst>
                <a:latin typeface="현대하모니 L" panose="02020603020101020101" pitchFamily="18" charset="-127"/>
                <a:ea typeface="현대하모니 L" panose="02020603020101020101" pitchFamily="18" charset="-127"/>
              </a:rPr>
              <a:t>사진</a:t>
            </a:r>
            <a:r>
              <a:rPr lang="en-US" altLang="ko-KR" sz="1200" dirty="0">
                <a:solidFill>
                  <a:schemeClr val="tx1"/>
                </a:solidFill>
                <a:effectLst>
                  <a:glow rad="127000">
                    <a:schemeClr val="bg1"/>
                  </a:glow>
                </a:effectLst>
                <a:latin typeface="현대하모니 L" panose="02020603020101020101" pitchFamily="18" charset="-127"/>
                <a:ea typeface="현대하모니 L" panose="02020603020101020101" pitchFamily="18" charset="-127"/>
              </a:rPr>
              <a:t>)</a:t>
            </a:r>
            <a:endParaRPr lang="ko-KR" altLang="en-US" sz="1200" dirty="0">
              <a:solidFill>
                <a:schemeClr val="tx1"/>
              </a:solidFill>
              <a:effectLst>
                <a:glow rad="127000">
                  <a:schemeClr val="bg1"/>
                </a:glow>
              </a:effectLst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94572487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제목 1"/>
          <p:cNvSpPr txBox="1">
            <a:spLocks/>
          </p:cNvSpPr>
          <p:nvPr/>
        </p:nvSpPr>
        <p:spPr>
          <a:xfrm>
            <a:off x="498028" y="274365"/>
            <a:ext cx="7407299" cy="418058"/>
          </a:xfrm>
          <a:prstGeom prst="rect">
            <a:avLst/>
          </a:prstGeom>
        </p:spPr>
        <p:txBody>
          <a:bodyPr lIns="91398" tIns="45699" rIns="91398" bIns="45699"/>
          <a:lstStyle>
            <a:lvl1pPr algn="l" defTabSz="914298" rtl="0" eaLnBrk="1" latinLnBrk="1" hangingPunct="1">
              <a:spcBef>
                <a:spcPct val="0"/>
              </a:spcBef>
              <a:buNone/>
              <a:defRPr sz="2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spcBef>
                <a:spcPct val="20000"/>
              </a:spcBef>
            </a:pPr>
            <a:r>
              <a:rPr lang="ko-KR" altLang="en-US" sz="2000" dirty="0">
                <a:solidFill>
                  <a:srgbClr val="000000"/>
                </a:solidFill>
                <a:latin typeface="현대하모니 M" pitchFamily="18" charset="-127"/>
                <a:ea typeface="현대하모니 M" pitchFamily="18" charset="-127"/>
                <a:cs typeface="Arial" charset="0"/>
              </a:rPr>
              <a:t>▣ 제안센터</a:t>
            </a:r>
            <a:r>
              <a:rPr lang="en-US" altLang="ko-KR" sz="2000" dirty="0">
                <a:solidFill>
                  <a:srgbClr val="000000"/>
                </a:solidFill>
                <a:latin typeface="현대하모니 M" pitchFamily="18" charset="-127"/>
                <a:ea typeface="현대하모니 M" pitchFamily="18" charset="-127"/>
                <a:cs typeface="Arial" charset="0"/>
              </a:rPr>
              <a:t> </a:t>
            </a:r>
            <a:r>
              <a:rPr lang="ko-KR" altLang="en-US" sz="2000" dirty="0">
                <a:solidFill>
                  <a:srgbClr val="000000"/>
                </a:solidFill>
                <a:latin typeface="현대하모니 M" pitchFamily="18" charset="-127"/>
                <a:ea typeface="현대하모니 M" pitchFamily="18" charset="-127"/>
                <a:cs typeface="Arial" charset="0"/>
              </a:rPr>
              <a:t>현업공모 제안서</a:t>
            </a:r>
            <a:endParaRPr lang="ko-KR" altLang="en-US" sz="2000" dirty="0">
              <a:latin typeface="현대하모니 B" pitchFamily="18" charset="-127"/>
              <a:ea typeface="현대하모니 B" pitchFamily="18" charset="-127"/>
            </a:endParaRPr>
          </a:p>
        </p:txBody>
      </p:sp>
      <p:graphicFrame>
        <p:nvGraphicFramePr>
          <p:cNvPr id="15" name="Group 1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41796965"/>
              </p:ext>
            </p:extLst>
          </p:nvPr>
        </p:nvGraphicFramePr>
        <p:xfrm>
          <a:off x="453000" y="944287"/>
          <a:ext cx="9000000" cy="5365033"/>
        </p:xfrm>
        <a:graphic>
          <a:graphicData uri="http://schemas.openxmlformats.org/drawingml/2006/table">
            <a:tbl>
              <a:tblPr/>
              <a:tblGrid>
                <a:gridCol w="1080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920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5365033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M" panose="02020603020101020101" pitchFamily="18" charset="-127"/>
                          <a:ea typeface="현대하모니 M" panose="02020603020101020101" pitchFamily="18" charset="-127"/>
                          <a:cs typeface="굴림" charset="-127"/>
                        </a:rPr>
                        <a:t>현상 및</a:t>
                      </a:r>
                      <a:endParaRPr kumimoji="1" lang="en-US" altLang="ko-KR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현대하모니 M" panose="02020603020101020101" pitchFamily="18" charset="-127"/>
                        <a:ea typeface="현대하모니 M" panose="02020603020101020101" pitchFamily="18" charset="-127"/>
                        <a:cs typeface="굴림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M" panose="02020603020101020101" pitchFamily="18" charset="-127"/>
                          <a:ea typeface="현대하모니 M" panose="02020603020101020101" pitchFamily="18" charset="-127"/>
                          <a:cs typeface="굴림" charset="-127"/>
                        </a:rPr>
                        <a:t>문제점</a:t>
                      </a:r>
                      <a:endParaRPr kumimoji="1" lang="en-US" altLang="ko-KR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현대하모니 M" panose="02020603020101020101" pitchFamily="18" charset="-127"/>
                        <a:ea typeface="현대하모니 M" panose="02020603020101020101" pitchFamily="18" charset="-127"/>
                        <a:cs typeface="굴림" charset="-127"/>
                      </a:endParaRPr>
                    </a:p>
                  </a:txBody>
                  <a:tcPr marL="36000" marR="36000" marT="36000" marB="3600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1. </a:t>
                      </a:r>
                      <a:r>
                        <a:rPr kumimoji="1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대상 </a:t>
                      </a:r>
                      <a:r>
                        <a:rPr kumimoji="1" lang="en-US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: </a:t>
                      </a:r>
                      <a:r>
                        <a:rPr kumimoji="1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쿨러 </a:t>
                      </a:r>
                      <a:r>
                        <a:rPr kumimoji="1" lang="ko-KR" altLang="en-US" sz="1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냉각팬</a:t>
                      </a:r>
                      <a:r>
                        <a:rPr kumimoji="1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 블레이드</a:t>
                      </a:r>
                      <a:endParaRPr kumimoji="1" lang="en-US" altLang="ko-KR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  <a:p>
                      <a:pPr marL="228600" marR="0" lvl="0" indent="-22860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AutoNum type="arabicPeriod"/>
                        <a:tabLst/>
                      </a:pPr>
                      <a:endParaRPr kumimoji="1" lang="en-US" altLang="ko-KR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2. </a:t>
                      </a:r>
                      <a:r>
                        <a:rPr kumimoji="1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설비 및 부품 공급사 </a:t>
                      </a:r>
                      <a:r>
                        <a:rPr kumimoji="1" lang="en-US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: HOWDEN</a:t>
                      </a: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ko-KR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5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3. </a:t>
                      </a:r>
                      <a:r>
                        <a:rPr kumimoji="1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문제점</a:t>
                      </a:r>
                      <a:endParaRPr kumimoji="1" lang="en-US" altLang="ko-KR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5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  1) </a:t>
                      </a:r>
                      <a:r>
                        <a:rPr kumimoji="1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납기 </a:t>
                      </a:r>
                      <a:r>
                        <a:rPr kumimoji="1" lang="en-US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: 49</a:t>
                      </a:r>
                      <a:r>
                        <a:rPr kumimoji="1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주 소요</a:t>
                      </a:r>
                      <a:endParaRPr kumimoji="1" lang="en-US" altLang="ko-KR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5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    </a:t>
                      </a:r>
                      <a:r>
                        <a:rPr kumimoji="1" lang="ko-KR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▷ </a:t>
                      </a:r>
                      <a:r>
                        <a:rPr kumimoji="1" lang="ko-KR" altLang="en-US" sz="12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장납기로</a:t>
                      </a:r>
                      <a:r>
                        <a:rPr kumimoji="1" lang="ko-KR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 인한 자재수급 불안정</a:t>
                      </a:r>
                      <a:endParaRPr kumimoji="1" lang="en-US" altLang="ko-KR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5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  2) </a:t>
                      </a:r>
                      <a:r>
                        <a:rPr kumimoji="1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가격 </a:t>
                      </a:r>
                      <a:r>
                        <a:rPr kumimoji="1" lang="en-US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: 2021</a:t>
                      </a:r>
                      <a:r>
                        <a:rPr kumimoji="1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년 납품가 ○○</a:t>
                      </a:r>
                      <a:r>
                        <a:rPr kumimoji="1" lang="en-US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,</a:t>
                      </a:r>
                      <a:r>
                        <a:rPr kumimoji="1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○○○천원</a:t>
                      </a:r>
                      <a:r>
                        <a:rPr kumimoji="1" lang="en-US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,</a:t>
                      </a:r>
                      <a:r>
                        <a:rPr kumimoji="1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 </a:t>
                      </a:r>
                      <a:r>
                        <a:rPr kumimoji="1" lang="en-US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2025</a:t>
                      </a:r>
                      <a:r>
                        <a:rPr kumimoji="1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년 </a:t>
                      </a:r>
                      <a:r>
                        <a:rPr kumimoji="1" lang="ko-KR" altLang="en-US" sz="1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견적가</a:t>
                      </a:r>
                      <a:r>
                        <a:rPr kumimoji="1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 ★★★</a:t>
                      </a:r>
                      <a:r>
                        <a:rPr kumimoji="1" lang="en-US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,</a:t>
                      </a:r>
                      <a:r>
                        <a:rPr kumimoji="1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 ★★★천원</a:t>
                      </a:r>
                      <a:r>
                        <a:rPr kumimoji="1" lang="en-US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/ 4</a:t>
                      </a:r>
                      <a:r>
                        <a:rPr kumimoji="1" lang="ko-KR" altLang="en-US" sz="1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년동안</a:t>
                      </a:r>
                      <a:r>
                        <a:rPr kumimoji="1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 </a:t>
                      </a:r>
                      <a:r>
                        <a:rPr kumimoji="1" lang="en-US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4</a:t>
                      </a:r>
                      <a:r>
                        <a:rPr kumimoji="1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배</a:t>
                      </a:r>
                      <a:r>
                        <a:rPr kumimoji="1" lang="en-US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 </a:t>
                      </a:r>
                      <a:r>
                        <a:rPr kumimoji="1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상승</a:t>
                      </a:r>
                      <a:endParaRPr kumimoji="1" lang="en-US" altLang="ko-KR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   ※ </a:t>
                      </a:r>
                      <a:r>
                        <a:rPr kumimoji="1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제안공모 자료로 가격 미공개</a:t>
                      </a:r>
                      <a:endParaRPr kumimoji="1" lang="en-US" altLang="ko-KR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5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    </a:t>
                      </a:r>
                      <a:r>
                        <a:rPr kumimoji="1" lang="ko-KR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▷ 블레이드 가격이 불합리한 수준으로 상승</a:t>
                      </a:r>
                      <a:endParaRPr kumimoji="1" lang="en-US" altLang="ko-KR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5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  3) </a:t>
                      </a:r>
                      <a:r>
                        <a:rPr kumimoji="1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경쟁사 부재</a:t>
                      </a:r>
                      <a:endParaRPr kumimoji="1" lang="en-US" altLang="ko-KR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ko-KR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5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4. </a:t>
                      </a:r>
                      <a:r>
                        <a:rPr kumimoji="1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결론</a:t>
                      </a:r>
                      <a:endParaRPr kumimoji="1" lang="en-US" altLang="ko-KR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5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   </a:t>
                      </a:r>
                      <a:r>
                        <a:rPr kumimoji="1" lang="ko-KR" altLang="en-US" sz="15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외자품을 국산화 전환하여 납기 단축과 납품가 절감 필요</a:t>
                      </a:r>
                      <a:endParaRPr kumimoji="1" lang="en-US" altLang="ko-KR" sz="15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36000" marR="36000" marT="36000" marB="3600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1710886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제목 1"/>
          <p:cNvSpPr txBox="1">
            <a:spLocks/>
          </p:cNvSpPr>
          <p:nvPr/>
        </p:nvSpPr>
        <p:spPr>
          <a:xfrm>
            <a:off x="498028" y="274365"/>
            <a:ext cx="7407299" cy="418058"/>
          </a:xfrm>
          <a:prstGeom prst="rect">
            <a:avLst/>
          </a:prstGeom>
        </p:spPr>
        <p:txBody>
          <a:bodyPr lIns="91398" tIns="45699" rIns="91398" bIns="45699"/>
          <a:lstStyle>
            <a:lvl1pPr algn="l" defTabSz="914298" rtl="0" eaLnBrk="1" latinLnBrk="1" hangingPunct="1">
              <a:spcBef>
                <a:spcPct val="0"/>
              </a:spcBef>
              <a:buNone/>
              <a:defRPr sz="2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spcBef>
                <a:spcPct val="20000"/>
              </a:spcBef>
            </a:pPr>
            <a:r>
              <a:rPr lang="ko-KR" altLang="en-US" sz="2000" dirty="0">
                <a:solidFill>
                  <a:srgbClr val="000000"/>
                </a:solidFill>
                <a:latin typeface="현대하모니 M" pitchFamily="18" charset="-127"/>
                <a:ea typeface="현대하모니 M" pitchFamily="18" charset="-127"/>
                <a:cs typeface="Arial" charset="0"/>
              </a:rPr>
              <a:t>▣ 제안센터</a:t>
            </a:r>
            <a:r>
              <a:rPr lang="en-US" altLang="ko-KR" sz="2000" dirty="0">
                <a:solidFill>
                  <a:srgbClr val="000000"/>
                </a:solidFill>
                <a:latin typeface="현대하모니 M" pitchFamily="18" charset="-127"/>
                <a:ea typeface="현대하모니 M" pitchFamily="18" charset="-127"/>
                <a:cs typeface="Arial" charset="0"/>
              </a:rPr>
              <a:t> </a:t>
            </a:r>
            <a:r>
              <a:rPr lang="ko-KR" altLang="en-US" sz="2000" dirty="0">
                <a:solidFill>
                  <a:srgbClr val="000000"/>
                </a:solidFill>
                <a:latin typeface="현대하모니 M" pitchFamily="18" charset="-127"/>
                <a:ea typeface="현대하모니 M" pitchFamily="18" charset="-127"/>
                <a:cs typeface="Arial" charset="0"/>
              </a:rPr>
              <a:t>현업공모 제안서</a:t>
            </a:r>
            <a:endParaRPr lang="ko-KR" altLang="en-US" sz="2000" dirty="0">
              <a:latin typeface="현대하모니 B" pitchFamily="18" charset="-127"/>
              <a:ea typeface="현대하모니 B" pitchFamily="18" charset="-127"/>
            </a:endParaRPr>
          </a:p>
        </p:txBody>
      </p:sp>
      <p:graphicFrame>
        <p:nvGraphicFramePr>
          <p:cNvPr id="15" name="Group 1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57671337"/>
              </p:ext>
            </p:extLst>
          </p:nvPr>
        </p:nvGraphicFramePr>
        <p:xfrm>
          <a:off x="453000" y="944287"/>
          <a:ext cx="9000000" cy="5400000"/>
        </p:xfrm>
        <a:graphic>
          <a:graphicData uri="http://schemas.openxmlformats.org/drawingml/2006/table">
            <a:tbl>
              <a:tblPr/>
              <a:tblGrid>
                <a:gridCol w="1080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620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260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800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08000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216000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446400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M" panose="02020603020101020101" pitchFamily="18" charset="-127"/>
                          <a:ea typeface="현대하모니 M" panose="02020603020101020101" pitchFamily="18" charset="-127"/>
                          <a:cs typeface="굴림" charset="-127"/>
                        </a:rPr>
                        <a:t>개발 내용</a:t>
                      </a:r>
                      <a:endParaRPr kumimoji="1" lang="en-US" altLang="ko-KR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현대하모니 M" panose="02020603020101020101" pitchFamily="18" charset="-127"/>
                        <a:ea typeface="현대하모니 M" panose="02020603020101020101" pitchFamily="18" charset="-127"/>
                        <a:cs typeface="굴림" charset="-127"/>
                      </a:endParaRPr>
                    </a:p>
                  </a:txBody>
                  <a:tcPr marL="36000" marR="36000" marT="36000" marB="3600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1. </a:t>
                      </a:r>
                      <a:r>
                        <a:rPr kumimoji="1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블레이드 형상 분석</a:t>
                      </a:r>
                      <a:endParaRPr kumimoji="1" lang="en-US" altLang="ko-KR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 - </a:t>
                      </a:r>
                      <a:r>
                        <a:rPr kumimoji="1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기존 제품의 외형을 </a:t>
                      </a:r>
                      <a:r>
                        <a:rPr kumimoji="1" lang="en-US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3D </a:t>
                      </a:r>
                      <a:r>
                        <a:rPr kumimoji="1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스캔하여 </a:t>
                      </a:r>
                      <a:r>
                        <a:rPr kumimoji="1" lang="en-US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CAD</a:t>
                      </a:r>
                      <a:r>
                        <a:rPr kumimoji="1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로 도면 구현</a:t>
                      </a:r>
                      <a:endParaRPr kumimoji="1" lang="en-US" altLang="ko-KR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ko-KR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2. </a:t>
                      </a:r>
                      <a:r>
                        <a:rPr kumimoji="1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블레이드 재질 분석 </a:t>
                      </a:r>
                      <a:endParaRPr kumimoji="1" lang="en-US" altLang="ko-KR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 - </a:t>
                      </a:r>
                      <a:r>
                        <a:rPr kumimoji="1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기존 제품의 무게</a:t>
                      </a:r>
                      <a:r>
                        <a:rPr kumimoji="1" lang="en-US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, </a:t>
                      </a:r>
                      <a:r>
                        <a:rPr kumimoji="1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강도</a:t>
                      </a:r>
                      <a:r>
                        <a:rPr kumimoji="1" lang="en-US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, </a:t>
                      </a:r>
                      <a:r>
                        <a:rPr kumimoji="1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경도</a:t>
                      </a:r>
                      <a:r>
                        <a:rPr kumimoji="1" lang="en-US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, </a:t>
                      </a:r>
                      <a:r>
                        <a:rPr kumimoji="1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연신 등 물리적</a:t>
                      </a:r>
                      <a:r>
                        <a:rPr kumimoji="1" lang="en-US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/</a:t>
                      </a:r>
                      <a:r>
                        <a:rPr kumimoji="1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화학적 특성 분석</a:t>
                      </a:r>
                      <a:endParaRPr kumimoji="1" lang="en-US" altLang="ko-KR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ko-KR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3.</a:t>
                      </a:r>
                      <a:r>
                        <a:rPr kumimoji="1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 블레이드 재질 선정</a:t>
                      </a:r>
                      <a:endParaRPr kumimoji="1" lang="en-US" altLang="ko-KR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 - </a:t>
                      </a:r>
                      <a:r>
                        <a:rPr kumimoji="1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기존 제품의 블레이드 분석 결과를 바탕으로 유사한 무게</a:t>
                      </a:r>
                      <a:r>
                        <a:rPr kumimoji="1" lang="en-US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/</a:t>
                      </a:r>
                      <a:r>
                        <a:rPr kumimoji="1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물리적</a:t>
                      </a:r>
                      <a:r>
                        <a:rPr kumimoji="1" lang="en-US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/</a:t>
                      </a:r>
                      <a:r>
                        <a:rPr kumimoji="1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화학적 성능을 낼 수 있는 재질 선정</a:t>
                      </a:r>
                      <a:r>
                        <a:rPr kumimoji="1" lang="en-US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(</a:t>
                      </a:r>
                      <a:r>
                        <a:rPr kumimoji="1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코팅 포함</a:t>
                      </a:r>
                      <a:r>
                        <a:rPr kumimoji="1" lang="en-US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)</a:t>
                      </a: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ko-KR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4. </a:t>
                      </a:r>
                      <a:r>
                        <a:rPr kumimoji="1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제작방법 협의</a:t>
                      </a:r>
                      <a:endParaRPr kumimoji="1" lang="en-US" altLang="ko-KR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 - </a:t>
                      </a:r>
                      <a:r>
                        <a:rPr kumimoji="1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현대제철 담당자와 협의하여 합리적이고 신뢰할 수 있는 제작방식 선정</a:t>
                      </a:r>
                      <a:r>
                        <a:rPr kumimoji="1" lang="en-US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(</a:t>
                      </a:r>
                      <a:r>
                        <a:rPr kumimoji="1" lang="ko-KR" altLang="en-US" sz="1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금형주조</a:t>
                      </a:r>
                      <a:r>
                        <a:rPr kumimoji="1" lang="en-US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, </a:t>
                      </a:r>
                      <a:r>
                        <a:rPr kumimoji="1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사형주조</a:t>
                      </a:r>
                      <a:r>
                        <a:rPr kumimoji="1" lang="en-US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, FLAT BAR </a:t>
                      </a:r>
                      <a:r>
                        <a:rPr kumimoji="1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가공 등</a:t>
                      </a:r>
                      <a:r>
                        <a:rPr kumimoji="1" lang="en-US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)</a:t>
                      </a: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ko-KR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5. </a:t>
                      </a:r>
                      <a:r>
                        <a:rPr kumimoji="1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제작</a:t>
                      </a:r>
                      <a:endParaRPr kumimoji="1" lang="en-US" altLang="ko-KR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ko-KR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6. </a:t>
                      </a:r>
                      <a:r>
                        <a:rPr kumimoji="1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검수</a:t>
                      </a:r>
                      <a:endParaRPr kumimoji="1" lang="en-US" altLang="ko-KR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 - </a:t>
                      </a:r>
                      <a:r>
                        <a:rPr kumimoji="1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완성품을 </a:t>
                      </a:r>
                      <a:r>
                        <a:rPr kumimoji="1" lang="en-US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3D </a:t>
                      </a:r>
                      <a:r>
                        <a:rPr kumimoji="1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스캔하여 기존 분석한 </a:t>
                      </a:r>
                      <a:r>
                        <a:rPr kumimoji="1" lang="en-US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3D </a:t>
                      </a:r>
                      <a:r>
                        <a:rPr kumimoji="1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도면과 비교 </a:t>
                      </a:r>
                      <a:r>
                        <a:rPr kumimoji="1" lang="en-US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/ </a:t>
                      </a:r>
                      <a:r>
                        <a:rPr kumimoji="1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오차확인</a:t>
                      </a:r>
                      <a:endParaRPr kumimoji="1" lang="en-US" altLang="ko-KR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 - </a:t>
                      </a:r>
                      <a:r>
                        <a:rPr kumimoji="1" lang="ko-KR" altLang="en-US" sz="1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비파괴</a:t>
                      </a:r>
                      <a:r>
                        <a:rPr kumimoji="1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 검사</a:t>
                      </a:r>
                      <a:r>
                        <a:rPr kumimoji="1" lang="en-US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(</a:t>
                      </a:r>
                      <a:r>
                        <a:rPr kumimoji="1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방사선</a:t>
                      </a:r>
                      <a:r>
                        <a:rPr kumimoji="1" lang="en-US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, PT</a:t>
                      </a:r>
                      <a:r>
                        <a:rPr kumimoji="1" lang="ko-KR" altLang="en-US" sz="1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액체탐상</a:t>
                      </a:r>
                      <a:r>
                        <a:rPr kumimoji="1" lang="en-US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)</a:t>
                      </a: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 - 16EA(1SET) </a:t>
                      </a:r>
                      <a:r>
                        <a:rPr kumimoji="1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제작하여 각 무게를 측정하고 무게 밸런스를 고려한 번호 부여</a:t>
                      </a:r>
                      <a:endParaRPr kumimoji="1" lang="en-US" altLang="ko-KR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ko-KR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 ※ TEST</a:t>
                      </a:r>
                      <a:r>
                        <a:rPr kumimoji="1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용 </a:t>
                      </a:r>
                      <a:r>
                        <a:rPr kumimoji="1" lang="en-US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HUB</a:t>
                      </a:r>
                      <a:r>
                        <a:rPr kumimoji="1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 및 </a:t>
                      </a:r>
                      <a:r>
                        <a:rPr kumimoji="1" lang="en-US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SHAFT</a:t>
                      </a:r>
                      <a:r>
                        <a:rPr kumimoji="1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에 조립하여 실제 </a:t>
                      </a:r>
                      <a:r>
                        <a:rPr kumimoji="1" lang="en-US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RPM</a:t>
                      </a:r>
                      <a:r>
                        <a:rPr kumimoji="1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과 유사하게 동작하고 </a:t>
                      </a:r>
                      <a:r>
                        <a:rPr kumimoji="1" lang="ko-KR" altLang="en-US" sz="1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풍량</a:t>
                      </a:r>
                      <a:r>
                        <a:rPr kumimoji="1" lang="en-US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, </a:t>
                      </a:r>
                      <a:r>
                        <a:rPr kumimoji="1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진동여부 등 성능 점검</a:t>
                      </a:r>
                      <a:endParaRPr kumimoji="1" lang="ko-KR" altLang="ko-KR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36000" marR="36000" marT="36000" marB="3600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M" panose="02020603020101020101" pitchFamily="18" charset="-127"/>
                          <a:ea typeface="현대하모니 M" panose="02020603020101020101" pitchFamily="18" charset="-127"/>
                        </a:rPr>
                        <a:t>테스트 수량</a:t>
                      </a:r>
                    </a:p>
                  </a:txBody>
                  <a:tcPr marL="36000" marR="36000" marT="36000" marB="3600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16EA(1 SET)</a:t>
                      </a:r>
                    </a:p>
                  </a:txBody>
                  <a:tcPr marL="36000" marR="36000" marT="36000" marB="3600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M" panose="02020603020101020101" pitchFamily="18" charset="-127"/>
                          <a:ea typeface="현대하모니 M" panose="02020603020101020101" pitchFamily="18" charset="-127"/>
                          <a:cs typeface="굴림" charset="-127"/>
                        </a:rPr>
                        <a:t>연간예상소요량</a:t>
                      </a:r>
                      <a:endParaRPr kumimoji="1" lang="en-US" altLang="ko-KR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현대하모니 M" panose="02020603020101020101" pitchFamily="18" charset="-127"/>
                        <a:ea typeface="현대하모니 M" panose="02020603020101020101" pitchFamily="18" charset="-127"/>
                        <a:cs typeface="굴림" charset="-127"/>
                      </a:endParaRPr>
                    </a:p>
                  </a:txBody>
                  <a:tcPr marL="36000" marR="36000" marT="36000" marB="3600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16EA(1 SET)</a:t>
                      </a:r>
                      <a:endParaRPr kumimoji="1" lang="ko-KR" alt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36000" marR="36000" marT="36000" marB="3600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M" pitchFamily="18" charset="-127"/>
                          <a:ea typeface="현대하모니 M" pitchFamily="18" charset="-127"/>
                        </a:rPr>
                        <a:t>테스트기간</a:t>
                      </a:r>
                    </a:p>
                  </a:txBody>
                  <a:tcPr marL="36000" marR="36000" marT="36000" marB="3600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4</a:t>
                      </a:r>
                      <a:r>
                        <a:rPr kumimoji="1" lang="ko-KR" alt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개월</a:t>
                      </a:r>
                      <a:endParaRPr kumimoji="1" lang="ko-KR" altLang="ko-KR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현대하모니 L" panose="02020603020101020101" pitchFamily="18" charset="-127"/>
                        <a:ea typeface="현대하모니 L" panose="02020603020101020101" pitchFamily="18" charset="-127"/>
                        <a:cs typeface="+mn-cs"/>
                      </a:endParaRPr>
                    </a:p>
                  </a:txBody>
                  <a:tcPr marL="36000" marR="36000" marT="36000" marB="3600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M" panose="02020603020101020101" pitchFamily="18" charset="-127"/>
                          <a:ea typeface="현대하모니 M" panose="02020603020101020101" pitchFamily="18" charset="-127"/>
                          <a:cs typeface="굴림" charset="-127"/>
                        </a:rPr>
                        <a:t>기대효과</a:t>
                      </a:r>
                      <a:endParaRPr kumimoji="1" lang="en-US" altLang="ko-KR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현대하모니 M" panose="02020603020101020101" pitchFamily="18" charset="-127"/>
                        <a:ea typeface="현대하모니 M" panose="02020603020101020101" pitchFamily="18" charset="-127"/>
                        <a:cs typeface="굴림" charset="-127"/>
                      </a:endParaRPr>
                    </a:p>
                  </a:txBody>
                  <a:tcPr marL="36000" marR="36000" marT="36000" marB="3600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105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M" panose="02020603020101020101" pitchFamily="18" charset="-127"/>
                          <a:ea typeface="현대하모니 M" panose="02020603020101020101" pitchFamily="18" charset="-127"/>
                          <a:cs typeface="굴림" charset="-127"/>
                        </a:rPr>
                        <a:t>1. </a:t>
                      </a:r>
                      <a:r>
                        <a:rPr kumimoji="1" lang="ko-KR" altLang="en-US" sz="105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M" panose="02020603020101020101" pitchFamily="18" charset="-127"/>
                          <a:ea typeface="현대하모니 M" panose="02020603020101020101" pitchFamily="18" charset="-127"/>
                          <a:cs typeface="굴림" charset="-127"/>
                        </a:rPr>
                        <a:t>납기 단축</a:t>
                      </a:r>
                      <a:endParaRPr kumimoji="1" lang="en-US" altLang="ko-KR" sz="105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현대하모니 M" panose="02020603020101020101" pitchFamily="18" charset="-127"/>
                        <a:ea typeface="현대하모니 M" panose="02020603020101020101" pitchFamily="18" charset="-127"/>
                        <a:cs typeface="굴림" charset="-127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105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M" panose="02020603020101020101" pitchFamily="18" charset="-127"/>
                          <a:ea typeface="현대하모니 M" panose="02020603020101020101" pitchFamily="18" charset="-127"/>
                          <a:cs typeface="굴림" charset="-127"/>
                        </a:rPr>
                        <a:t>2. </a:t>
                      </a:r>
                      <a:r>
                        <a:rPr kumimoji="1" lang="ko-KR" altLang="en-US" sz="105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M" panose="02020603020101020101" pitchFamily="18" charset="-127"/>
                          <a:ea typeface="현대하모니 M" panose="02020603020101020101" pitchFamily="18" charset="-127"/>
                          <a:cs typeface="굴림" charset="-127"/>
                        </a:rPr>
                        <a:t>예산 절감</a:t>
                      </a:r>
                      <a:endParaRPr kumimoji="1" lang="en-US" altLang="ko-KR" sz="105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현대하모니 M" panose="02020603020101020101" pitchFamily="18" charset="-127"/>
                        <a:ea typeface="현대하모니 M" panose="02020603020101020101" pitchFamily="18" charset="-127"/>
                        <a:cs typeface="굴림" charset="-127"/>
                      </a:endParaRPr>
                    </a:p>
                  </a:txBody>
                  <a:tcPr marL="36000" marR="36000" marT="36000" marB="3600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dirty="0"/>
                    </a:p>
                  </a:txBody>
                  <a:tcPr marL="36000" marR="36000" marT="36000" marB="3600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FF"/>
                        </a:solidFill>
                        <a:effectLst/>
                        <a:latin typeface="현대하모니 M" pitchFamily="18" charset="-127"/>
                        <a:ea typeface="현대하모니 M" pitchFamily="18" charset="-127"/>
                      </a:endParaRPr>
                    </a:p>
                  </a:txBody>
                  <a:tcPr marL="36000" marR="36000" marT="36000" marB="3600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5121562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u6mI3UciUuZyJerjjg5h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u6mI3UciUuZyJerjjg5h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u6mI3UciUuZyJerjjg5h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u6mI3UciUuZyJerjjg5h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u6mI3UciUuZyJerjjg5h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u6mI3UciUuZyJerjjg5hw"/>
</p:tagLst>
</file>

<file path=ppt/theme/theme1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사용자 지정 7">
      <a:majorFont>
        <a:latin typeface="Arial"/>
        <a:ea typeface="현대하모니 B"/>
        <a:cs typeface=""/>
      </a:majorFont>
      <a:minorFont>
        <a:latin typeface="Arial"/>
        <a:ea typeface="현대하모니 M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DeleteYN xmlns="ff21decc-f982-4003-8303-34355b08c24a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문서" ma:contentTypeID="0x010100C3D7A8E0B24FE44A828FD63BD2399C2E" ma:contentTypeVersion="1" ma:contentTypeDescription="새 문서를 만듭니다." ma:contentTypeScope="" ma:versionID="51d0340c0c02884e9a9d109b09910057">
  <xsd:schema xmlns:xsd="http://www.w3.org/2001/XMLSchema" xmlns:xs="http://www.w3.org/2001/XMLSchema" xmlns:p="http://schemas.microsoft.com/office/2006/metadata/properties" xmlns:ns2="ff21decc-f982-4003-8303-34355b08c24a" targetNamespace="http://schemas.microsoft.com/office/2006/metadata/properties" ma:root="true" ma:fieldsID="25bd605efb50daa4a1130567a2952898" ns2:_="">
    <xsd:import namespace="ff21decc-f982-4003-8303-34355b08c24a"/>
    <xsd:element name="properties">
      <xsd:complexType>
        <xsd:sequence>
          <xsd:element name="documentManagement">
            <xsd:complexType>
              <xsd:all>
                <xsd:element ref="ns2:DeleteY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f21decc-f982-4003-8303-34355b08c24a" elementFormDefault="qualified">
    <xsd:import namespace="http://schemas.microsoft.com/office/2006/documentManagement/types"/>
    <xsd:import namespace="http://schemas.microsoft.com/office/infopath/2007/PartnerControls"/>
    <xsd:element name="DeleteYN" ma:index="8" nillable="true" ma:displayName="DeleteYN" ma:internalName="DeleteYN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콘텐츠 형식"/>
        <xsd:element ref="dc:title" minOccurs="0" maxOccurs="1" ma:index="4" ma:displayName="제목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2477E3E3-E541-49FE-9AE4-85C92F16536A}">
  <ds:schemaRefs>
    <ds:schemaRef ds:uri="http://schemas.microsoft.com/office/infopath/2007/PartnerControls"/>
    <ds:schemaRef ds:uri="http://schemas.microsoft.com/office/2006/documentManagement/types"/>
    <ds:schemaRef ds:uri="http://www.w3.org/XML/1998/namespace"/>
    <ds:schemaRef ds:uri="http://purl.org/dc/elements/1.1/"/>
    <ds:schemaRef ds:uri="http://purl.org/dc/dcmitype/"/>
    <ds:schemaRef ds:uri="ff21decc-f982-4003-8303-34355b08c24a"/>
    <ds:schemaRef ds:uri="http://schemas.microsoft.com/office/2006/metadata/properties"/>
    <ds:schemaRef ds:uri="http://schemas.openxmlformats.org/package/2006/metadata/core-properties"/>
    <ds:schemaRef ds:uri="http://purl.org/dc/terms/"/>
  </ds:schemaRefs>
</ds:datastoreItem>
</file>

<file path=customXml/itemProps2.xml><?xml version="1.0" encoding="utf-8"?>
<ds:datastoreItem xmlns:ds="http://schemas.openxmlformats.org/officeDocument/2006/customXml" ds:itemID="{402F92BC-F117-496F-9790-990268969EA9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18617661-FA2E-4C92-AF2C-9BE87D52440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f21decc-f982-4003-8303-34355b08c24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Metadata/LabelInfo.xml><?xml version="1.0" encoding="utf-8"?>
<clbl:labelList xmlns:clbl="http://schemas.microsoft.com/office/2020/mipLabelMetadata"/>
</file>

<file path=docProps/app.xml><?xml version="1.0" encoding="utf-8"?>
<Properties xmlns="http://schemas.openxmlformats.org/officeDocument/2006/extended-properties" xmlns:vt="http://schemas.openxmlformats.org/officeDocument/2006/docPropsVTypes">
  <TotalTime>20151</TotalTime>
  <Words>407</Words>
  <Application>Microsoft Office PowerPoint</Application>
  <PresentationFormat>A4 용지(210x297mm)</PresentationFormat>
  <Paragraphs>119</Paragraphs>
  <Slides>4</Slides>
  <Notes>3</Notes>
  <HiddenSlides>0</HiddenSlides>
  <MMClips>0</MMClips>
  <ScaleCrop>false</ScaleCrop>
  <HeadingPairs>
    <vt:vector size="6" baseType="variant">
      <vt:variant>
        <vt:lpstr>사용한 글꼴</vt:lpstr>
      </vt:variant>
      <vt:variant>
        <vt:i4>8</vt:i4>
      </vt:variant>
      <vt:variant>
        <vt:lpstr>테마</vt:lpstr>
      </vt:variant>
      <vt:variant>
        <vt:i4>1</vt:i4>
      </vt:variant>
      <vt:variant>
        <vt:lpstr>슬라이드 제목</vt:lpstr>
      </vt:variant>
      <vt:variant>
        <vt:i4>4</vt:i4>
      </vt:variant>
    </vt:vector>
  </HeadingPairs>
  <TitlesOfParts>
    <vt:vector size="13" baseType="lpstr">
      <vt:lpstr>HY견명조</vt:lpstr>
      <vt:lpstr>맑은 고딕</vt:lpstr>
      <vt:lpstr>현대하모니 B</vt:lpstr>
      <vt:lpstr>현대하모니 L</vt:lpstr>
      <vt:lpstr>현대하모니 M</vt:lpstr>
      <vt:lpstr>Arial</vt:lpstr>
      <vt:lpstr>Calibri</vt:lpstr>
      <vt:lpstr>Wingdings</vt:lpstr>
      <vt:lpstr>Office 테마</vt:lpstr>
      <vt:lpstr>PowerPoint 프레젠테이션</vt:lpstr>
      <vt:lpstr>PowerPoint 프레젠테이션</vt:lpstr>
      <vt:lpstr>PowerPoint 프레젠테이션</vt:lpstr>
      <vt:lpstr>PowerPoint 프레젠테이션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프레젠테이션</dc:title>
  <dc:creator>hds</dc:creator>
  <cp:lastModifiedBy>성대식 책임매니저 소결정비팀</cp:lastModifiedBy>
  <cp:revision>759</cp:revision>
  <cp:lastPrinted>2024-05-29T07:32:53Z</cp:lastPrinted>
  <dcterms:created xsi:type="dcterms:W3CDTF">2018-03-07T00:22:22Z</dcterms:created>
  <dcterms:modified xsi:type="dcterms:W3CDTF">2025-04-15T06:48:2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3D7A8E0B24FE44A828FD63BD2399C2E</vt:lpwstr>
  </property>
  <property fmtid="{D5CDD505-2E9C-101B-9397-08002B2CF9AE}" pid="3" name="ClassificationContentMarkingFooterLocations">
    <vt:lpwstr>Office 테마:8</vt:lpwstr>
  </property>
  <property fmtid="{D5CDD505-2E9C-101B-9397-08002B2CF9AE}" pid="4" name="ClassificationContentMarkingFooterText">
    <vt:lpwstr>본 문서는 현대제철의 정보자산으로 관련 법령에 의해 보호 받습니다.</vt:lpwstr>
  </property>
</Properties>
</file>